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7"/>
  </p:notesMasterIdLst>
  <p:sldIdLst>
    <p:sldId id="357" r:id="rId2"/>
    <p:sldId id="300" r:id="rId3"/>
    <p:sldId id="358" r:id="rId4"/>
    <p:sldId id="359" r:id="rId5"/>
    <p:sldId id="360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ock_Competition" id="{29FC6522-B4A4-454D-908D-8994D794DD3D}">
          <p14:sldIdLst>
            <p14:sldId id="357"/>
            <p14:sldId id="300"/>
            <p14:sldId id="358"/>
            <p14:sldId id="359"/>
            <p14:sldId id="36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478">
          <p15:clr>
            <a:srgbClr val="A4A3A4"/>
          </p15:clr>
        </p15:guide>
        <p15:guide id="2" orient="horz" pos="210">
          <p15:clr>
            <a:srgbClr val="A4A3A4"/>
          </p15:clr>
        </p15:guide>
        <p15:guide id="3" orient="horz" pos="981">
          <p15:clr>
            <a:srgbClr val="A4A3A4"/>
          </p15:clr>
        </p15:guide>
        <p15:guide id="4" orient="horz" pos="3838">
          <p15:clr>
            <a:srgbClr val="A4A3A4"/>
          </p15:clr>
        </p15:guide>
        <p15:guide id="5" pos="211">
          <p15:clr>
            <a:srgbClr val="A4A3A4"/>
          </p15:clr>
        </p15:guide>
        <p15:guide id="6" pos="7469">
          <p15:clr>
            <a:srgbClr val="A4A3A4"/>
          </p15:clr>
        </p15:guide>
        <p15:guide id="7" pos="6955">
          <p15:clr>
            <a:srgbClr val="A4A3A4"/>
          </p15:clr>
        </p15:guide>
        <p15:guide id="8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E6F0"/>
    <a:srgbClr val="48A9A6"/>
    <a:srgbClr val="D4B483"/>
    <a:srgbClr val="C1666B"/>
    <a:srgbClr val="4281A4"/>
    <a:srgbClr val="555358"/>
    <a:srgbClr val="8F9491"/>
    <a:srgbClr val="00A0F5"/>
    <a:srgbClr val="44D0FA"/>
    <a:srgbClr val="058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294" autoAdjust="0"/>
    <p:restoredTop sz="95345" autoAdjust="0"/>
  </p:normalViewPr>
  <p:slideViewPr>
    <p:cSldViewPr>
      <p:cViewPr varScale="1">
        <p:scale>
          <a:sx n="95" d="100"/>
          <a:sy n="95" d="100"/>
        </p:scale>
        <p:origin x="384" y="168"/>
      </p:cViewPr>
      <p:guideLst>
        <p:guide orient="horz" pos="2478"/>
        <p:guide orient="horz" pos="210"/>
        <p:guide orient="horz" pos="981"/>
        <p:guide orient="horz" pos="3838"/>
        <p:guide pos="211"/>
        <p:guide pos="7469"/>
        <p:guide pos="6955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-9024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AD6230-35D5-4CDF-8FAD-B5EAC575EF9D}" type="datetimeFigureOut">
              <a:rPr lang="en-US" smtClean="0"/>
              <a:t>2/18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A2A421-727C-49B1-A098-B727755037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1028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headlin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3285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6000" y="259200"/>
            <a:ext cx="11520000" cy="33855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line for max two lines tk Brand Blue (Subline one line only 18 pt grey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999" y="6163200"/>
            <a:ext cx="10704000" cy="144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</a:lstStyle>
          <a:p>
            <a:pPr lvl="0"/>
            <a:r>
              <a:rPr lang="en-US" dirty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20004916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headline + text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for max two lines </a:t>
            </a:r>
            <a:r>
              <a:rPr lang="en-US" dirty="0" err="1"/>
              <a:t>tk</a:t>
            </a:r>
            <a:r>
              <a:rPr lang="en-US" dirty="0"/>
              <a:t> Brand Blue (Subline one line only 18 </a:t>
            </a:r>
            <a:r>
              <a:rPr lang="en-US" dirty="0" err="1"/>
              <a:t>pt</a:t>
            </a:r>
            <a:r>
              <a:rPr lang="en-US" dirty="0"/>
              <a:t> grey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31200" y="1522799"/>
            <a:ext cx="5519973" cy="4536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999" y="6163200"/>
            <a:ext cx="10704000" cy="144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</a:lstStyle>
          <a:p>
            <a:pPr lvl="0"/>
            <a:r>
              <a:rPr lang="en-US" dirty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17264415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for max two lines </a:t>
            </a:r>
            <a:r>
              <a:rPr lang="en-US" dirty="0" err="1"/>
              <a:t>tk</a:t>
            </a:r>
            <a:r>
              <a:rPr lang="en-US" dirty="0"/>
              <a:t> Brand Blue (Subline one line only 18 </a:t>
            </a:r>
            <a:r>
              <a:rPr lang="en-US" dirty="0" err="1"/>
              <a:t>pt</a:t>
            </a:r>
            <a:r>
              <a:rPr lang="en-US" dirty="0"/>
              <a:t> grey)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999" y="6163200"/>
            <a:ext cx="10704000" cy="144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</a:lstStyle>
          <a:p>
            <a:pPr lvl="0"/>
            <a:r>
              <a:rPr lang="en-US" dirty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9035998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2739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 dirty="0" err="1">
              <a:ln>
                <a:noFill/>
              </a:ln>
              <a:solidFill>
                <a:schemeClr val="tx1"/>
              </a:solidFill>
              <a:latin typeface="TKTypeMedium" panose="020B0606030201060204" pitchFamily="34" charset="0"/>
              <a:ea typeface="+mj-ea"/>
              <a:cs typeface="+mj-cs"/>
              <a:sym typeface="TKTypeMedium" panose="020B060603020106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31601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ocus Master -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 rot="10800000">
            <a:off x="0" y="5915113"/>
            <a:ext cx="12192000" cy="513850"/>
            <a:chOff x="1" y="4291088"/>
            <a:chExt cx="9144000" cy="51385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" y="4291088"/>
              <a:ext cx="9144000" cy="513850"/>
            </a:xfrm>
            <a:prstGeom prst="rect">
              <a:avLst/>
            </a:prstGeom>
          </p:spPr>
        </p:pic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1" y="4291088"/>
              <a:ext cx="9143998" cy="441325"/>
            </a:xfrm>
            <a:custGeom>
              <a:avLst/>
              <a:gdLst>
                <a:gd name="T0" fmla="*/ 2688 w 2704"/>
                <a:gd name="T1" fmla="*/ 118 h 148"/>
                <a:gd name="T2" fmla="*/ 2637 w 2704"/>
                <a:gd name="T3" fmla="*/ 122 h 148"/>
                <a:gd name="T4" fmla="*/ 2599 w 2704"/>
                <a:gd name="T5" fmla="*/ 121 h 148"/>
                <a:gd name="T6" fmla="*/ 2558 w 2704"/>
                <a:gd name="T7" fmla="*/ 125 h 148"/>
                <a:gd name="T8" fmla="*/ 2517 w 2704"/>
                <a:gd name="T9" fmla="*/ 124 h 148"/>
                <a:gd name="T10" fmla="*/ 2512 w 2704"/>
                <a:gd name="T11" fmla="*/ 129 h 148"/>
                <a:gd name="T12" fmla="*/ 2485 w 2704"/>
                <a:gd name="T13" fmla="*/ 131 h 148"/>
                <a:gd name="T14" fmla="*/ 2451 w 2704"/>
                <a:gd name="T15" fmla="*/ 134 h 148"/>
                <a:gd name="T16" fmla="*/ 2399 w 2704"/>
                <a:gd name="T17" fmla="*/ 136 h 148"/>
                <a:gd name="T18" fmla="*/ 2355 w 2704"/>
                <a:gd name="T19" fmla="*/ 137 h 148"/>
                <a:gd name="T20" fmla="*/ 2312 w 2704"/>
                <a:gd name="T21" fmla="*/ 131 h 148"/>
                <a:gd name="T22" fmla="*/ 2255 w 2704"/>
                <a:gd name="T23" fmla="*/ 118 h 148"/>
                <a:gd name="T24" fmla="*/ 2222 w 2704"/>
                <a:gd name="T25" fmla="*/ 94 h 148"/>
                <a:gd name="T26" fmla="*/ 2167 w 2704"/>
                <a:gd name="T27" fmla="*/ 71 h 148"/>
                <a:gd name="T28" fmla="*/ 2120 w 2704"/>
                <a:gd name="T29" fmla="*/ 64 h 148"/>
                <a:gd name="T30" fmla="*/ 2044 w 2704"/>
                <a:gd name="T31" fmla="*/ 67 h 148"/>
                <a:gd name="T32" fmla="*/ 2004 w 2704"/>
                <a:gd name="T33" fmla="*/ 64 h 148"/>
                <a:gd name="T34" fmla="*/ 1954 w 2704"/>
                <a:gd name="T35" fmla="*/ 55 h 148"/>
                <a:gd name="T36" fmla="*/ 1890 w 2704"/>
                <a:gd name="T37" fmla="*/ 53 h 148"/>
                <a:gd name="T38" fmla="*/ 1853 w 2704"/>
                <a:gd name="T39" fmla="*/ 65 h 148"/>
                <a:gd name="T40" fmla="*/ 1820 w 2704"/>
                <a:gd name="T41" fmla="*/ 67 h 148"/>
                <a:gd name="T42" fmla="*/ 1774 w 2704"/>
                <a:gd name="T43" fmla="*/ 68 h 148"/>
                <a:gd name="T44" fmla="*/ 1708 w 2704"/>
                <a:gd name="T45" fmla="*/ 78 h 148"/>
                <a:gd name="T46" fmla="*/ 1668 w 2704"/>
                <a:gd name="T47" fmla="*/ 83 h 148"/>
                <a:gd name="T48" fmla="*/ 1608 w 2704"/>
                <a:gd name="T49" fmla="*/ 81 h 148"/>
                <a:gd name="T50" fmla="*/ 1559 w 2704"/>
                <a:gd name="T51" fmla="*/ 82 h 148"/>
                <a:gd name="T52" fmla="*/ 1516 w 2704"/>
                <a:gd name="T53" fmla="*/ 85 h 148"/>
                <a:gd name="T54" fmla="*/ 1464 w 2704"/>
                <a:gd name="T55" fmla="*/ 81 h 148"/>
                <a:gd name="T56" fmla="*/ 1402 w 2704"/>
                <a:gd name="T57" fmla="*/ 78 h 148"/>
                <a:gd name="T58" fmla="*/ 1336 w 2704"/>
                <a:gd name="T59" fmla="*/ 88 h 148"/>
                <a:gd name="T60" fmla="*/ 1296 w 2704"/>
                <a:gd name="T61" fmla="*/ 99 h 148"/>
                <a:gd name="T62" fmla="*/ 1255 w 2704"/>
                <a:gd name="T63" fmla="*/ 102 h 148"/>
                <a:gd name="T64" fmla="*/ 1205 w 2704"/>
                <a:gd name="T65" fmla="*/ 93 h 148"/>
                <a:gd name="T66" fmla="*/ 1183 w 2704"/>
                <a:gd name="T67" fmla="*/ 99 h 148"/>
                <a:gd name="T68" fmla="*/ 1124 w 2704"/>
                <a:gd name="T69" fmla="*/ 113 h 148"/>
                <a:gd name="T70" fmla="*/ 1045 w 2704"/>
                <a:gd name="T71" fmla="*/ 101 h 148"/>
                <a:gd name="T72" fmla="*/ 1002 w 2704"/>
                <a:gd name="T73" fmla="*/ 101 h 148"/>
                <a:gd name="T74" fmla="*/ 951 w 2704"/>
                <a:gd name="T75" fmla="*/ 101 h 148"/>
                <a:gd name="T76" fmla="*/ 890 w 2704"/>
                <a:gd name="T77" fmla="*/ 88 h 148"/>
                <a:gd name="T78" fmla="*/ 845 w 2704"/>
                <a:gd name="T79" fmla="*/ 102 h 148"/>
                <a:gd name="T80" fmla="*/ 819 w 2704"/>
                <a:gd name="T81" fmla="*/ 116 h 148"/>
                <a:gd name="T82" fmla="*/ 788 w 2704"/>
                <a:gd name="T83" fmla="*/ 113 h 148"/>
                <a:gd name="T84" fmla="*/ 745 w 2704"/>
                <a:gd name="T85" fmla="*/ 113 h 148"/>
                <a:gd name="T86" fmla="*/ 713 w 2704"/>
                <a:gd name="T87" fmla="*/ 113 h 148"/>
                <a:gd name="T88" fmla="*/ 684 w 2704"/>
                <a:gd name="T89" fmla="*/ 109 h 148"/>
                <a:gd name="T90" fmla="*/ 644 w 2704"/>
                <a:gd name="T91" fmla="*/ 113 h 148"/>
                <a:gd name="T92" fmla="*/ 622 w 2704"/>
                <a:gd name="T93" fmla="*/ 109 h 148"/>
                <a:gd name="T94" fmla="*/ 555 w 2704"/>
                <a:gd name="T95" fmla="*/ 93 h 148"/>
                <a:gd name="T96" fmla="*/ 510 w 2704"/>
                <a:gd name="T97" fmla="*/ 73 h 148"/>
                <a:gd name="T98" fmla="*/ 473 w 2704"/>
                <a:gd name="T99" fmla="*/ 73 h 148"/>
                <a:gd name="T100" fmla="*/ 387 w 2704"/>
                <a:gd name="T101" fmla="*/ 75 h 148"/>
                <a:gd name="T102" fmla="*/ 331 w 2704"/>
                <a:gd name="T103" fmla="*/ 65 h 148"/>
                <a:gd name="T104" fmla="*/ 236 w 2704"/>
                <a:gd name="T105" fmla="*/ 62 h 148"/>
                <a:gd name="T106" fmla="*/ 213 w 2704"/>
                <a:gd name="T107" fmla="*/ 75 h 148"/>
                <a:gd name="T108" fmla="*/ 180 w 2704"/>
                <a:gd name="T109" fmla="*/ 77 h 148"/>
                <a:gd name="T110" fmla="*/ 133 w 2704"/>
                <a:gd name="T111" fmla="*/ 77 h 148"/>
                <a:gd name="T112" fmla="*/ 95 w 2704"/>
                <a:gd name="T113" fmla="*/ 79 h 148"/>
                <a:gd name="T114" fmla="*/ 33 w 2704"/>
                <a:gd name="T115" fmla="*/ 89 h 148"/>
                <a:gd name="T116" fmla="*/ 0 w 2704"/>
                <a:gd name="T117" fmla="*/ 87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704" h="148">
                  <a:moveTo>
                    <a:pt x="0" y="0"/>
                  </a:moveTo>
                  <a:cubicBezTo>
                    <a:pt x="2704" y="0"/>
                    <a:pt x="2704" y="0"/>
                    <a:pt x="2704" y="0"/>
                  </a:cubicBezTo>
                  <a:cubicBezTo>
                    <a:pt x="2704" y="18"/>
                    <a:pt x="2704" y="18"/>
                    <a:pt x="2704" y="18"/>
                  </a:cubicBezTo>
                  <a:cubicBezTo>
                    <a:pt x="2704" y="57"/>
                    <a:pt x="2704" y="90"/>
                    <a:pt x="2704" y="113"/>
                  </a:cubicBezTo>
                  <a:cubicBezTo>
                    <a:pt x="2700" y="116"/>
                    <a:pt x="2693" y="116"/>
                    <a:pt x="2688" y="118"/>
                  </a:cubicBezTo>
                  <a:cubicBezTo>
                    <a:pt x="2683" y="118"/>
                    <a:pt x="2678" y="119"/>
                    <a:pt x="2674" y="122"/>
                  </a:cubicBezTo>
                  <a:cubicBezTo>
                    <a:pt x="2673" y="124"/>
                    <a:pt x="2670" y="124"/>
                    <a:pt x="2669" y="124"/>
                  </a:cubicBezTo>
                  <a:cubicBezTo>
                    <a:pt x="2663" y="123"/>
                    <a:pt x="2658" y="122"/>
                    <a:pt x="2653" y="121"/>
                  </a:cubicBezTo>
                  <a:cubicBezTo>
                    <a:pt x="2651" y="120"/>
                    <a:pt x="2650" y="120"/>
                    <a:pt x="2649" y="120"/>
                  </a:cubicBezTo>
                  <a:cubicBezTo>
                    <a:pt x="2645" y="121"/>
                    <a:pt x="2641" y="122"/>
                    <a:pt x="2637" y="122"/>
                  </a:cubicBezTo>
                  <a:cubicBezTo>
                    <a:pt x="2632" y="127"/>
                    <a:pt x="2625" y="125"/>
                    <a:pt x="2620" y="131"/>
                  </a:cubicBezTo>
                  <a:cubicBezTo>
                    <a:pt x="2619" y="131"/>
                    <a:pt x="2617" y="131"/>
                    <a:pt x="2615" y="131"/>
                  </a:cubicBezTo>
                  <a:cubicBezTo>
                    <a:pt x="2613" y="131"/>
                    <a:pt x="2610" y="129"/>
                    <a:pt x="2610" y="127"/>
                  </a:cubicBezTo>
                  <a:cubicBezTo>
                    <a:pt x="2609" y="122"/>
                    <a:pt x="2606" y="120"/>
                    <a:pt x="2601" y="121"/>
                  </a:cubicBezTo>
                  <a:cubicBezTo>
                    <a:pt x="2601" y="121"/>
                    <a:pt x="2599" y="121"/>
                    <a:pt x="2599" y="121"/>
                  </a:cubicBezTo>
                  <a:cubicBezTo>
                    <a:pt x="2594" y="119"/>
                    <a:pt x="2588" y="119"/>
                    <a:pt x="2583" y="121"/>
                  </a:cubicBezTo>
                  <a:cubicBezTo>
                    <a:pt x="2580" y="122"/>
                    <a:pt x="2578" y="121"/>
                    <a:pt x="2576" y="120"/>
                  </a:cubicBezTo>
                  <a:cubicBezTo>
                    <a:pt x="2573" y="119"/>
                    <a:pt x="2571" y="118"/>
                    <a:pt x="2569" y="120"/>
                  </a:cubicBezTo>
                  <a:cubicBezTo>
                    <a:pt x="2566" y="122"/>
                    <a:pt x="2561" y="120"/>
                    <a:pt x="2560" y="124"/>
                  </a:cubicBezTo>
                  <a:cubicBezTo>
                    <a:pt x="2560" y="125"/>
                    <a:pt x="2559" y="125"/>
                    <a:pt x="2558" y="125"/>
                  </a:cubicBezTo>
                  <a:cubicBezTo>
                    <a:pt x="2555" y="124"/>
                    <a:pt x="2553" y="127"/>
                    <a:pt x="2550" y="128"/>
                  </a:cubicBezTo>
                  <a:cubicBezTo>
                    <a:pt x="2547" y="129"/>
                    <a:pt x="2542" y="130"/>
                    <a:pt x="2538" y="129"/>
                  </a:cubicBezTo>
                  <a:cubicBezTo>
                    <a:pt x="2531" y="127"/>
                    <a:pt x="2525" y="125"/>
                    <a:pt x="2517" y="125"/>
                  </a:cubicBezTo>
                  <a:cubicBezTo>
                    <a:pt x="2517" y="125"/>
                    <a:pt x="2517" y="125"/>
                    <a:pt x="2517" y="125"/>
                  </a:cubicBezTo>
                  <a:cubicBezTo>
                    <a:pt x="2517" y="124"/>
                    <a:pt x="2517" y="124"/>
                    <a:pt x="2517" y="124"/>
                  </a:cubicBezTo>
                  <a:cubicBezTo>
                    <a:pt x="2517" y="124"/>
                    <a:pt x="2517" y="124"/>
                    <a:pt x="2517" y="124"/>
                  </a:cubicBezTo>
                  <a:cubicBezTo>
                    <a:pt x="2517" y="125"/>
                    <a:pt x="2517" y="125"/>
                    <a:pt x="2517" y="125"/>
                  </a:cubicBezTo>
                  <a:cubicBezTo>
                    <a:pt x="2517" y="126"/>
                    <a:pt x="2517" y="126"/>
                    <a:pt x="2517" y="126"/>
                  </a:cubicBezTo>
                  <a:cubicBezTo>
                    <a:pt x="2517" y="127"/>
                    <a:pt x="2517" y="127"/>
                    <a:pt x="2517" y="128"/>
                  </a:cubicBezTo>
                  <a:cubicBezTo>
                    <a:pt x="2516" y="131"/>
                    <a:pt x="2515" y="132"/>
                    <a:pt x="2512" y="129"/>
                  </a:cubicBezTo>
                  <a:cubicBezTo>
                    <a:pt x="2511" y="129"/>
                    <a:pt x="2511" y="129"/>
                    <a:pt x="2510" y="129"/>
                  </a:cubicBezTo>
                  <a:cubicBezTo>
                    <a:pt x="2510" y="130"/>
                    <a:pt x="2509" y="131"/>
                    <a:pt x="2508" y="133"/>
                  </a:cubicBezTo>
                  <a:cubicBezTo>
                    <a:pt x="2507" y="132"/>
                    <a:pt x="2506" y="130"/>
                    <a:pt x="2505" y="130"/>
                  </a:cubicBezTo>
                  <a:cubicBezTo>
                    <a:pt x="2501" y="131"/>
                    <a:pt x="2497" y="128"/>
                    <a:pt x="2493" y="129"/>
                  </a:cubicBezTo>
                  <a:cubicBezTo>
                    <a:pt x="2491" y="130"/>
                    <a:pt x="2488" y="130"/>
                    <a:pt x="2485" y="131"/>
                  </a:cubicBezTo>
                  <a:cubicBezTo>
                    <a:pt x="2484" y="128"/>
                    <a:pt x="2483" y="124"/>
                    <a:pt x="2482" y="121"/>
                  </a:cubicBezTo>
                  <a:cubicBezTo>
                    <a:pt x="2480" y="121"/>
                    <a:pt x="2478" y="121"/>
                    <a:pt x="2476" y="121"/>
                  </a:cubicBezTo>
                  <a:cubicBezTo>
                    <a:pt x="2475" y="121"/>
                    <a:pt x="2475" y="117"/>
                    <a:pt x="2472" y="118"/>
                  </a:cubicBezTo>
                  <a:cubicBezTo>
                    <a:pt x="2472" y="121"/>
                    <a:pt x="2471" y="124"/>
                    <a:pt x="2470" y="128"/>
                  </a:cubicBezTo>
                  <a:cubicBezTo>
                    <a:pt x="2464" y="130"/>
                    <a:pt x="2458" y="132"/>
                    <a:pt x="2451" y="134"/>
                  </a:cubicBezTo>
                  <a:cubicBezTo>
                    <a:pt x="2449" y="133"/>
                    <a:pt x="2447" y="132"/>
                    <a:pt x="2445" y="131"/>
                  </a:cubicBezTo>
                  <a:cubicBezTo>
                    <a:pt x="2441" y="132"/>
                    <a:pt x="2438" y="133"/>
                    <a:pt x="2436" y="135"/>
                  </a:cubicBezTo>
                  <a:cubicBezTo>
                    <a:pt x="2431" y="140"/>
                    <a:pt x="2425" y="139"/>
                    <a:pt x="2420" y="137"/>
                  </a:cubicBezTo>
                  <a:cubicBezTo>
                    <a:pt x="2416" y="136"/>
                    <a:pt x="2412" y="135"/>
                    <a:pt x="2408" y="136"/>
                  </a:cubicBezTo>
                  <a:cubicBezTo>
                    <a:pt x="2405" y="136"/>
                    <a:pt x="2402" y="136"/>
                    <a:pt x="2399" y="136"/>
                  </a:cubicBezTo>
                  <a:cubicBezTo>
                    <a:pt x="2397" y="135"/>
                    <a:pt x="2394" y="134"/>
                    <a:pt x="2391" y="133"/>
                  </a:cubicBezTo>
                  <a:cubicBezTo>
                    <a:pt x="2389" y="133"/>
                    <a:pt x="2388" y="134"/>
                    <a:pt x="2386" y="136"/>
                  </a:cubicBezTo>
                  <a:cubicBezTo>
                    <a:pt x="2382" y="139"/>
                    <a:pt x="2379" y="140"/>
                    <a:pt x="2374" y="139"/>
                  </a:cubicBezTo>
                  <a:cubicBezTo>
                    <a:pt x="2373" y="139"/>
                    <a:pt x="2372" y="139"/>
                    <a:pt x="2371" y="139"/>
                  </a:cubicBezTo>
                  <a:cubicBezTo>
                    <a:pt x="2365" y="143"/>
                    <a:pt x="2360" y="138"/>
                    <a:pt x="2355" y="137"/>
                  </a:cubicBezTo>
                  <a:cubicBezTo>
                    <a:pt x="2354" y="133"/>
                    <a:pt x="2352" y="133"/>
                    <a:pt x="2350" y="133"/>
                  </a:cubicBezTo>
                  <a:cubicBezTo>
                    <a:pt x="2346" y="134"/>
                    <a:pt x="2343" y="134"/>
                    <a:pt x="2339" y="137"/>
                  </a:cubicBezTo>
                  <a:cubicBezTo>
                    <a:pt x="2335" y="139"/>
                    <a:pt x="2332" y="141"/>
                    <a:pt x="2328" y="144"/>
                  </a:cubicBezTo>
                  <a:cubicBezTo>
                    <a:pt x="2326" y="146"/>
                    <a:pt x="2325" y="148"/>
                    <a:pt x="2323" y="146"/>
                  </a:cubicBezTo>
                  <a:cubicBezTo>
                    <a:pt x="2318" y="141"/>
                    <a:pt x="2315" y="136"/>
                    <a:pt x="2312" y="131"/>
                  </a:cubicBezTo>
                  <a:cubicBezTo>
                    <a:pt x="2304" y="127"/>
                    <a:pt x="2298" y="129"/>
                    <a:pt x="2292" y="132"/>
                  </a:cubicBezTo>
                  <a:cubicBezTo>
                    <a:pt x="2288" y="131"/>
                    <a:pt x="2285" y="130"/>
                    <a:pt x="2282" y="129"/>
                  </a:cubicBezTo>
                  <a:cubicBezTo>
                    <a:pt x="2280" y="127"/>
                    <a:pt x="2278" y="124"/>
                    <a:pt x="2275" y="122"/>
                  </a:cubicBezTo>
                  <a:cubicBezTo>
                    <a:pt x="2274" y="121"/>
                    <a:pt x="2272" y="120"/>
                    <a:pt x="2271" y="120"/>
                  </a:cubicBezTo>
                  <a:cubicBezTo>
                    <a:pt x="2266" y="118"/>
                    <a:pt x="2261" y="116"/>
                    <a:pt x="2255" y="118"/>
                  </a:cubicBezTo>
                  <a:cubicBezTo>
                    <a:pt x="2253" y="118"/>
                    <a:pt x="2251" y="118"/>
                    <a:pt x="2250" y="118"/>
                  </a:cubicBezTo>
                  <a:cubicBezTo>
                    <a:pt x="2249" y="116"/>
                    <a:pt x="2248" y="115"/>
                    <a:pt x="2247" y="114"/>
                  </a:cubicBezTo>
                  <a:cubicBezTo>
                    <a:pt x="2244" y="109"/>
                    <a:pt x="2241" y="104"/>
                    <a:pt x="2234" y="103"/>
                  </a:cubicBezTo>
                  <a:cubicBezTo>
                    <a:pt x="2233" y="103"/>
                    <a:pt x="2231" y="102"/>
                    <a:pt x="2230" y="101"/>
                  </a:cubicBezTo>
                  <a:cubicBezTo>
                    <a:pt x="2228" y="99"/>
                    <a:pt x="2225" y="96"/>
                    <a:pt x="2222" y="94"/>
                  </a:cubicBezTo>
                  <a:cubicBezTo>
                    <a:pt x="2221" y="93"/>
                    <a:pt x="2217" y="93"/>
                    <a:pt x="2215" y="92"/>
                  </a:cubicBezTo>
                  <a:cubicBezTo>
                    <a:pt x="2212" y="90"/>
                    <a:pt x="2212" y="86"/>
                    <a:pt x="2210" y="84"/>
                  </a:cubicBezTo>
                  <a:cubicBezTo>
                    <a:pt x="2203" y="82"/>
                    <a:pt x="2195" y="80"/>
                    <a:pt x="2188" y="77"/>
                  </a:cubicBezTo>
                  <a:cubicBezTo>
                    <a:pt x="2186" y="77"/>
                    <a:pt x="2185" y="76"/>
                    <a:pt x="2184" y="75"/>
                  </a:cubicBezTo>
                  <a:cubicBezTo>
                    <a:pt x="2178" y="72"/>
                    <a:pt x="2173" y="72"/>
                    <a:pt x="2167" y="71"/>
                  </a:cubicBezTo>
                  <a:cubicBezTo>
                    <a:pt x="2164" y="70"/>
                    <a:pt x="2163" y="72"/>
                    <a:pt x="2162" y="74"/>
                  </a:cubicBezTo>
                  <a:cubicBezTo>
                    <a:pt x="2160" y="73"/>
                    <a:pt x="2160" y="72"/>
                    <a:pt x="2159" y="72"/>
                  </a:cubicBezTo>
                  <a:cubicBezTo>
                    <a:pt x="2153" y="69"/>
                    <a:pt x="2147" y="67"/>
                    <a:pt x="2141" y="64"/>
                  </a:cubicBezTo>
                  <a:cubicBezTo>
                    <a:pt x="2140" y="63"/>
                    <a:pt x="2138" y="63"/>
                    <a:pt x="2137" y="64"/>
                  </a:cubicBezTo>
                  <a:cubicBezTo>
                    <a:pt x="2131" y="67"/>
                    <a:pt x="2125" y="65"/>
                    <a:pt x="2120" y="64"/>
                  </a:cubicBezTo>
                  <a:cubicBezTo>
                    <a:pt x="2116" y="64"/>
                    <a:pt x="2112" y="64"/>
                    <a:pt x="2108" y="64"/>
                  </a:cubicBezTo>
                  <a:cubicBezTo>
                    <a:pt x="2103" y="65"/>
                    <a:pt x="2098" y="67"/>
                    <a:pt x="2092" y="66"/>
                  </a:cubicBezTo>
                  <a:cubicBezTo>
                    <a:pt x="2085" y="66"/>
                    <a:pt x="2078" y="67"/>
                    <a:pt x="2071" y="69"/>
                  </a:cubicBezTo>
                  <a:cubicBezTo>
                    <a:pt x="2063" y="71"/>
                    <a:pt x="2056" y="72"/>
                    <a:pt x="2048" y="68"/>
                  </a:cubicBezTo>
                  <a:cubicBezTo>
                    <a:pt x="2046" y="68"/>
                    <a:pt x="2045" y="68"/>
                    <a:pt x="2044" y="67"/>
                  </a:cubicBezTo>
                  <a:cubicBezTo>
                    <a:pt x="2039" y="64"/>
                    <a:pt x="2034" y="64"/>
                    <a:pt x="2028" y="65"/>
                  </a:cubicBezTo>
                  <a:cubicBezTo>
                    <a:pt x="2023" y="65"/>
                    <a:pt x="2018" y="65"/>
                    <a:pt x="2013" y="63"/>
                  </a:cubicBezTo>
                  <a:cubicBezTo>
                    <a:pt x="2012" y="63"/>
                    <a:pt x="2011" y="63"/>
                    <a:pt x="2010" y="64"/>
                  </a:cubicBezTo>
                  <a:cubicBezTo>
                    <a:pt x="2008" y="64"/>
                    <a:pt x="2007" y="65"/>
                    <a:pt x="2006" y="65"/>
                  </a:cubicBezTo>
                  <a:cubicBezTo>
                    <a:pt x="2005" y="64"/>
                    <a:pt x="2004" y="64"/>
                    <a:pt x="2004" y="64"/>
                  </a:cubicBezTo>
                  <a:cubicBezTo>
                    <a:pt x="2000" y="59"/>
                    <a:pt x="1995" y="57"/>
                    <a:pt x="1989" y="57"/>
                  </a:cubicBezTo>
                  <a:cubicBezTo>
                    <a:pt x="1977" y="57"/>
                    <a:pt x="1966" y="56"/>
                    <a:pt x="1954" y="55"/>
                  </a:cubicBezTo>
                  <a:cubicBezTo>
                    <a:pt x="1954" y="53"/>
                    <a:pt x="1954" y="52"/>
                    <a:pt x="1954" y="50"/>
                  </a:cubicBezTo>
                  <a:cubicBezTo>
                    <a:pt x="1953" y="50"/>
                    <a:pt x="1953" y="50"/>
                    <a:pt x="1953" y="50"/>
                  </a:cubicBezTo>
                  <a:cubicBezTo>
                    <a:pt x="1953" y="52"/>
                    <a:pt x="1954" y="54"/>
                    <a:pt x="1954" y="55"/>
                  </a:cubicBezTo>
                  <a:cubicBezTo>
                    <a:pt x="1953" y="55"/>
                    <a:pt x="1953" y="56"/>
                    <a:pt x="1952" y="56"/>
                  </a:cubicBezTo>
                  <a:cubicBezTo>
                    <a:pt x="1941" y="57"/>
                    <a:pt x="1931" y="58"/>
                    <a:pt x="1920" y="55"/>
                  </a:cubicBezTo>
                  <a:cubicBezTo>
                    <a:pt x="1916" y="53"/>
                    <a:pt x="1911" y="52"/>
                    <a:pt x="1907" y="51"/>
                  </a:cubicBezTo>
                  <a:cubicBezTo>
                    <a:pt x="1905" y="51"/>
                    <a:pt x="1904" y="50"/>
                    <a:pt x="1902" y="51"/>
                  </a:cubicBezTo>
                  <a:cubicBezTo>
                    <a:pt x="1898" y="52"/>
                    <a:pt x="1894" y="54"/>
                    <a:pt x="1890" y="53"/>
                  </a:cubicBezTo>
                  <a:cubicBezTo>
                    <a:pt x="1886" y="57"/>
                    <a:pt x="1881" y="55"/>
                    <a:pt x="1877" y="53"/>
                  </a:cubicBezTo>
                  <a:cubicBezTo>
                    <a:pt x="1876" y="52"/>
                    <a:pt x="1875" y="52"/>
                    <a:pt x="1873" y="52"/>
                  </a:cubicBezTo>
                  <a:cubicBezTo>
                    <a:pt x="1872" y="56"/>
                    <a:pt x="1870" y="61"/>
                    <a:pt x="1869" y="66"/>
                  </a:cubicBezTo>
                  <a:cubicBezTo>
                    <a:pt x="1868" y="66"/>
                    <a:pt x="1867" y="67"/>
                    <a:pt x="1866" y="67"/>
                  </a:cubicBezTo>
                  <a:cubicBezTo>
                    <a:pt x="1862" y="66"/>
                    <a:pt x="1857" y="66"/>
                    <a:pt x="1853" y="65"/>
                  </a:cubicBezTo>
                  <a:cubicBezTo>
                    <a:pt x="1851" y="67"/>
                    <a:pt x="1850" y="70"/>
                    <a:pt x="1849" y="70"/>
                  </a:cubicBezTo>
                  <a:cubicBezTo>
                    <a:pt x="1846" y="71"/>
                    <a:pt x="1844" y="73"/>
                    <a:pt x="1840" y="74"/>
                  </a:cubicBezTo>
                  <a:cubicBezTo>
                    <a:pt x="1839" y="72"/>
                    <a:pt x="1837" y="70"/>
                    <a:pt x="1836" y="68"/>
                  </a:cubicBezTo>
                  <a:cubicBezTo>
                    <a:pt x="1834" y="68"/>
                    <a:pt x="1832" y="69"/>
                    <a:pt x="1831" y="69"/>
                  </a:cubicBezTo>
                  <a:cubicBezTo>
                    <a:pt x="1827" y="69"/>
                    <a:pt x="1824" y="68"/>
                    <a:pt x="1820" y="67"/>
                  </a:cubicBezTo>
                  <a:cubicBezTo>
                    <a:pt x="1817" y="66"/>
                    <a:pt x="1814" y="69"/>
                    <a:pt x="1810" y="68"/>
                  </a:cubicBezTo>
                  <a:cubicBezTo>
                    <a:pt x="1804" y="65"/>
                    <a:pt x="1798" y="66"/>
                    <a:pt x="1792" y="67"/>
                  </a:cubicBezTo>
                  <a:cubicBezTo>
                    <a:pt x="1790" y="68"/>
                    <a:pt x="1788" y="69"/>
                    <a:pt x="1785" y="67"/>
                  </a:cubicBezTo>
                  <a:cubicBezTo>
                    <a:pt x="1783" y="65"/>
                    <a:pt x="1781" y="65"/>
                    <a:pt x="1779" y="67"/>
                  </a:cubicBezTo>
                  <a:cubicBezTo>
                    <a:pt x="1777" y="67"/>
                    <a:pt x="1775" y="68"/>
                    <a:pt x="1774" y="68"/>
                  </a:cubicBezTo>
                  <a:cubicBezTo>
                    <a:pt x="1771" y="68"/>
                    <a:pt x="1768" y="68"/>
                    <a:pt x="1765" y="68"/>
                  </a:cubicBezTo>
                  <a:cubicBezTo>
                    <a:pt x="1762" y="69"/>
                    <a:pt x="1760" y="69"/>
                    <a:pt x="1757" y="68"/>
                  </a:cubicBezTo>
                  <a:cubicBezTo>
                    <a:pt x="1754" y="66"/>
                    <a:pt x="1752" y="67"/>
                    <a:pt x="1749" y="70"/>
                  </a:cubicBezTo>
                  <a:cubicBezTo>
                    <a:pt x="1744" y="77"/>
                    <a:pt x="1736" y="78"/>
                    <a:pt x="1728" y="77"/>
                  </a:cubicBezTo>
                  <a:cubicBezTo>
                    <a:pt x="1722" y="76"/>
                    <a:pt x="1715" y="74"/>
                    <a:pt x="1708" y="78"/>
                  </a:cubicBezTo>
                  <a:cubicBezTo>
                    <a:pt x="1705" y="80"/>
                    <a:pt x="1701" y="80"/>
                    <a:pt x="1698" y="79"/>
                  </a:cubicBezTo>
                  <a:cubicBezTo>
                    <a:pt x="1696" y="79"/>
                    <a:pt x="1694" y="78"/>
                    <a:pt x="1692" y="79"/>
                  </a:cubicBezTo>
                  <a:cubicBezTo>
                    <a:pt x="1689" y="82"/>
                    <a:pt x="1685" y="79"/>
                    <a:pt x="1682" y="81"/>
                  </a:cubicBezTo>
                  <a:cubicBezTo>
                    <a:pt x="1679" y="85"/>
                    <a:pt x="1676" y="82"/>
                    <a:pt x="1673" y="82"/>
                  </a:cubicBezTo>
                  <a:cubicBezTo>
                    <a:pt x="1671" y="81"/>
                    <a:pt x="1670" y="82"/>
                    <a:pt x="1668" y="83"/>
                  </a:cubicBezTo>
                  <a:cubicBezTo>
                    <a:pt x="1666" y="84"/>
                    <a:pt x="1663" y="83"/>
                    <a:pt x="1661" y="82"/>
                  </a:cubicBezTo>
                  <a:cubicBezTo>
                    <a:pt x="1660" y="81"/>
                    <a:pt x="1658" y="81"/>
                    <a:pt x="1657" y="80"/>
                  </a:cubicBezTo>
                  <a:cubicBezTo>
                    <a:pt x="1650" y="81"/>
                    <a:pt x="1643" y="83"/>
                    <a:pt x="1636" y="84"/>
                  </a:cubicBezTo>
                  <a:cubicBezTo>
                    <a:pt x="1633" y="85"/>
                    <a:pt x="1630" y="85"/>
                    <a:pt x="1628" y="84"/>
                  </a:cubicBezTo>
                  <a:cubicBezTo>
                    <a:pt x="1621" y="80"/>
                    <a:pt x="1615" y="80"/>
                    <a:pt x="1608" y="81"/>
                  </a:cubicBezTo>
                  <a:cubicBezTo>
                    <a:pt x="1605" y="84"/>
                    <a:pt x="1603" y="88"/>
                    <a:pt x="1598" y="87"/>
                  </a:cubicBezTo>
                  <a:cubicBezTo>
                    <a:pt x="1594" y="90"/>
                    <a:pt x="1590" y="88"/>
                    <a:pt x="1586" y="86"/>
                  </a:cubicBezTo>
                  <a:cubicBezTo>
                    <a:pt x="1581" y="84"/>
                    <a:pt x="1575" y="83"/>
                    <a:pt x="1570" y="81"/>
                  </a:cubicBezTo>
                  <a:cubicBezTo>
                    <a:pt x="1567" y="80"/>
                    <a:pt x="1565" y="79"/>
                    <a:pt x="1562" y="82"/>
                  </a:cubicBezTo>
                  <a:cubicBezTo>
                    <a:pt x="1561" y="82"/>
                    <a:pt x="1559" y="82"/>
                    <a:pt x="1559" y="82"/>
                  </a:cubicBezTo>
                  <a:cubicBezTo>
                    <a:pt x="1555" y="80"/>
                    <a:pt x="1554" y="76"/>
                    <a:pt x="1549" y="75"/>
                  </a:cubicBezTo>
                  <a:cubicBezTo>
                    <a:pt x="1549" y="78"/>
                    <a:pt x="1550" y="81"/>
                    <a:pt x="1548" y="83"/>
                  </a:cubicBezTo>
                  <a:cubicBezTo>
                    <a:pt x="1546" y="86"/>
                    <a:pt x="1542" y="86"/>
                    <a:pt x="1540" y="85"/>
                  </a:cubicBezTo>
                  <a:cubicBezTo>
                    <a:pt x="1536" y="83"/>
                    <a:pt x="1532" y="84"/>
                    <a:pt x="1528" y="84"/>
                  </a:cubicBezTo>
                  <a:cubicBezTo>
                    <a:pt x="1524" y="84"/>
                    <a:pt x="1520" y="83"/>
                    <a:pt x="1516" y="85"/>
                  </a:cubicBezTo>
                  <a:cubicBezTo>
                    <a:pt x="1516" y="85"/>
                    <a:pt x="1514" y="85"/>
                    <a:pt x="1513" y="85"/>
                  </a:cubicBezTo>
                  <a:cubicBezTo>
                    <a:pt x="1511" y="84"/>
                    <a:pt x="1508" y="83"/>
                    <a:pt x="1506" y="83"/>
                  </a:cubicBezTo>
                  <a:cubicBezTo>
                    <a:pt x="1502" y="83"/>
                    <a:pt x="1499" y="82"/>
                    <a:pt x="1496" y="81"/>
                  </a:cubicBezTo>
                  <a:cubicBezTo>
                    <a:pt x="1489" y="78"/>
                    <a:pt x="1483" y="76"/>
                    <a:pt x="1475" y="79"/>
                  </a:cubicBezTo>
                  <a:cubicBezTo>
                    <a:pt x="1471" y="78"/>
                    <a:pt x="1467" y="78"/>
                    <a:pt x="1464" y="81"/>
                  </a:cubicBezTo>
                  <a:cubicBezTo>
                    <a:pt x="1462" y="82"/>
                    <a:pt x="1459" y="82"/>
                    <a:pt x="1456" y="82"/>
                  </a:cubicBezTo>
                  <a:cubicBezTo>
                    <a:pt x="1454" y="82"/>
                    <a:pt x="1452" y="82"/>
                    <a:pt x="1450" y="82"/>
                  </a:cubicBezTo>
                  <a:cubicBezTo>
                    <a:pt x="1443" y="81"/>
                    <a:pt x="1437" y="82"/>
                    <a:pt x="1431" y="80"/>
                  </a:cubicBezTo>
                  <a:cubicBezTo>
                    <a:pt x="1427" y="79"/>
                    <a:pt x="1424" y="80"/>
                    <a:pt x="1421" y="80"/>
                  </a:cubicBezTo>
                  <a:cubicBezTo>
                    <a:pt x="1415" y="82"/>
                    <a:pt x="1408" y="80"/>
                    <a:pt x="1402" y="78"/>
                  </a:cubicBezTo>
                  <a:cubicBezTo>
                    <a:pt x="1394" y="77"/>
                    <a:pt x="1385" y="78"/>
                    <a:pt x="1377" y="80"/>
                  </a:cubicBezTo>
                  <a:cubicBezTo>
                    <a:pt x="1373" y="81"/>
                    <a:pt x="1371" y="82"/>
                    <a:pt x="1368" y="82"/>
                  </a:cubicBezTo>
                  <a:cubicBezTo>
                    <a:pt x="1366" y="81"/>
                    <a:pt x="1364" y="82"/>
                    <a:pt x="1363" y="82"/>
                  </a:cubicBezTo>
                  <a:cubicBezTo>
                    <a:pt x="1357" y="84"/>
                    <a:pt x="1351" y="87"/>
                    <a:pt x="1345" y="87"/>
                  </a:cubicBezTo>
                  <a:cubicBezTo>
                    <a:pt x="1342" y="91"/>
                    <a:pt x="1339" y="87"/>
                    <a:pt x="1336" y="88"/>
                  </a:cubicBezTo>
                  <a:cubicBezTo>
                    <a:pt x="1333" y="90"/>
                    <a:pt x="1330" y="90"/>
                    <a:pt x="1326" y="88"/>
                  </a:cubicBezTo>
                  <a:cubicBezTo>
                    <a:pt x="1322" y="87"/>
                    <a:pt x="1319" y="88"/>
                    <a:pt x="1316" y="91"/>
                  </a:cubicBezTo>
                  <a:cubicBezTo>
                    <a:pt x="1315" y="93"/>
                    <a:pt x="1314" y="94"/>
                    <a:pt x="1312" y="94"/>
                  </a:cubicBezTo>
                  <a:cubicBezTo>
                    <a:pt x="1310" y="95"/>
                    <a:pt x="1307" y="96"/>
                    <a:pt x="1304" y="96"/>
                  </a:cubicBezTo>
                  <a:cubicBezTo>
                    <a:pt x="1301" y="95"/>
                    <a:pt x="1299" y="98"/>
                    <a:pt x="1296" y="99"/>
                  </a:cubicBezTo>
                  <a:cubicBezTo>
                    <a:pt x="1295" y="99"/>
                    <a:pt x="1293" y="99"/>
                    <a:pt x="1292" y="99"/>
                  </a:cubicBezTo>
                  <a:cubicBezTo>
                    <a:pt x="1290" y="98"/>
                    <a:pt x="1289" y="99"/>
                    <a:pt x="1287" y="100"/>
                  </a:cubicBezTo>
                  <a:cubicBezTo>
                    <a:pt x="1286" y="101"/>
                    <a:pt x="1284" y="101"/>
                    <a:pt x="1282" y="101"/>
                  </a:cubicBezTo>
                  <a:cubicBezTo>
                    <a:pt x="1277" y="101"/>
                    <a:pt x="1274" y="102"/>
                    <a:pt x="1272" y="105"/>
                  </a:cubicBezTo>
                  <a:cubicBezTo>
                    <a:pt x="1265" y="104"/>
                    <a:pt x="1260" y="102"/>
                    <a:pt x="1255" y="102"/>
                  </a:cubicBezTo>
                  <a:cubicBezTo>
                    <a:pt x="1250" y="101"/>
                    <a:pt x="1246" y="99"/>
                    <a:pt x="1242" y="101"/>
                  </a:cubicBezTo>
                  <a:cubicBezTo>
                    <a:pt x="1241" y="101"/>
                    <a:pt x="1238" y="99"/>
                    <a:pt x="1237" y="98"/>
                  </a:cubicBezTo>
                  <a:cubicBezTo>
                    <a:pt x="1235" y="95"/>
                    <a:pt x="1231" y="94"/>
                    <a:pt x="1228" y="95"/>
                  </a:cubicBezTo>
                  <a:cubicBezTo>
                    <a:pt x="1223" y="97"/>
                    <a:pt x="1219" y="97"/>
                    <a:pt x="1214" y="95"/>
                  </a:cubicBezTo>
                  <a:cubicBezTo>
                    <a:pt x="1211" y="94"/>
                    <a:pt x="1208" y="94"/>
                    <a:pt x="1205" y="93"/>
                  </a:cubicBezTo>
                  <a:cubicBezTo>
                    <a:pt x="1204" y="93"/>
                    <a:pt x="1204" y="93"/>
                    <a:pt x="1202" y="93"/>
                  </a:cubicBezTo>
                  <a:cubicBezTo>
                    <a:pt x="1202" y="95"/>
                    <a:pt x="1202" y="97"/>
                    <a:pt x="1202" y="99"/>
                  </a:cubicBezTo>
                  <a:cubicBezTo>
                    <a:pt x="1200" y="99"/>
                    <a:pt x="1198" y="100"/>
                    <a:pt x="1196" y="100"/>
                  </a:cubicBezTo>
                  <a:cubicBezTo>
                    <a:pt x="1194" y="99"/>
                    <a:pt x="1192" y="97"/>
                    <a:pt x="1191" y="95"/>
                  </a:cubicBezTo>
                  <a:cubicBezTo>
                    <a:pt x="1188" y="97"/>
                    <a:pt x="1186" y="100"/>
                    <a:pt x="1183" y="99"/>
                  </a:cubicBezTo>
                  <a:cubicBezTo>
                    <a:pt x="1178" y="102"/>
                    <a:pt x="1172" y="102"/>
                    <a:pt x="1167" y="108"/>
                  </a:cubicBezTo>
                  <a:cubicBezTo>
                    <a:pt x="1165" y="109"/>
                    <a:pt x="1163" y="111"/>
                    <a:pt x="1160" y="110"/>
                  </a:cubicBezTo>
                  <a:cubicBezTo>
                    <a:pt x="1155" y="109"/>
                    <a:pt x="1151" y="111"/>
                    <a:pt x="1146" y="112"/>
                  </a:cubicBezTo>
                  <a:cubicBezTo>
                    <a:pt x="1142" y="114"/>
                    <a:pt x="1138" y="115"/>
                    <a:pt x="1134" y="115"/>
                  </a:cubicBezTo>
                  <a:cubicBezTo>
                    <a:pt x="1131" y="114"/>
                    <a:pt x="1127" y="114"/>
                    <a:pt x="1124" y="113"/>
                  </a:cubicBezTo>
                  <a:cubicBezTo>
                    <a:pt x="1120" y="113"/>
                    <a:pt x="1117" y="112"/>
                    <a:pt x="1114" y="114"/>
                  </a:cubicBezTo>
                  <a:cubicBezTo>
                    <a:pt x="1110" y="116"/>
                    <a:pt x="1106" y="116"/>
                    <a:pt x="1103" y="116"/>
                  </a:cubicBezTo>
                  <a:cubicBezTo>
                    <a:pt x="1099" y="115"/>
                    <a:pt x="1096" y="115"/>
                    <a:pt x="1093" y="116"/>
                  </a:cubicBezTo>
                  <a:cubicBezTo>
                    <a:pt x="1083" y="118"/>
                    <a:pt x="1073" y="116"/>
                    <a:pt x="1064" y="112"/>
                  </a:cubicBezTo>
                  <a:cubicBezTo>
                    <a:pt x="1058" y="109"/>
                    <a:pt x="1051" y="105"/>
                    <a:pt x="1045" y="101"/>
                  </a:cubicBezTo>
                  <a:cubicBezTo>
                    <a:pt x="1042" y="100"/>
                    <a:pt x="1039" y="98"/>
                    <a:pt x="1035" y="96"/>
                  </a:cubicBezTo>
                  <a:cubicBezTo>
                    <a:pt x="1032" y="95"/>
                    <a:pt x="1028" y="94"/>
                    <a:pt x="1024" y="97"/>
                  </a:cubicBezTo>
                  <a:cubicBezTo>
                    <a:pt x="1024" y="98"/>
                    <a:pt x="1023" y="98"/>
                    <a:pt x="1022" y="97"/>
                  </a:cubicBezTo>
                  <a:cubicBezTo>
                    <a:pt x="1020" y="96"/>
                    <a:pt x="1018" y="97"/>
                    <a:pt x="1016" y="99"/>
                  </a:cubicBezTo>
                  <a:cubicBezTo>
                    <a:pt x="1012" y="101"/>
                    <a:pt x="1007" y="102"/>
                    <a:pt x="1002" y="101"/>
                  </a:cubicBezTo>
                  <a:cubicBezTo>
                    <a:pt x="998" y="101"/>
                    <a:pt x="995" y="103"/>
                    <a:pt x="991" y="100"/>
                  </a:cubicBezTo>
                  <a:cubicBezTo>
                    <a:pt x="986" y="102"/>
                    <a:pt x="982" y="102"/>
                    <a:pt x="977" y="101"/>
                  </a:cubicBezTo>
                  <a:cubicBezTo>
                    <a:pt x="973" y="105"/>
                    <a:pt x="968" y="102"/>
                    <a:pt x="963" y="102"/>
                  </a:cubicBezTo>
                  <a:cubicBezTo>
                    <a:pt x="960" y="103"/>
                    <a:pt x="957" y="105"/>
                    <a:pt x="955" y="101"/>
                  </a:cubicBezTo>
                  <a:cubicBezTo>
                    <a:pt x="954" y="101"/>
                    <a:pt x="952" y="101"/>
                    <a:pt x="951" y="101"/>
                  </a:cubicBezTo>
                  <a:cubicBezTo>
                    <a:pt x="949" y="102"/>
                    <a:pt x="947" y="102"/>
                    <a:pt x="944" y="103"/>
                  </a:cubicBezTo>
                  <a:cubicBezTo>
                    <a:pt x="934" y="96"/>
                    <a:pt x="922" y="95"/>
                    <a:pt x="912" y="91"/>
                  </a:cubicBezTo>
                  <a:cubicBezTo>
                    <a:pt x="910" y="92"/>
                    <a:pt x="909" y="93"/>
                    <a:pt x="907" y="95"/>
                  </a:cubicBezTo>
                  <a:cubicBezTo>
                    <a:pt x="904" y="94"/>
                    <a:pt x="901" y="94"/>
                    <a:pt x="898" y="93"/>
                  </a:cubicBezTo>
                  <a:cubicBezTo>
                    <a:pt x="895" y="93"/>
                    <a:pt x="892" y="92"/>
                    <a:pt x="890" y="88"/>
                  </a:cubicBezTo>
                  <a:cubicBezTo>
                    <a:pt x="889" y="86"/>
                    <a:pt x="885" y="84"/>
                    <a:pt x="882" y="84"/>
                  </a:cubicBezTo>
                  <a:cubicBezTo>
                    <a:pt x="878" y="86"/>
                    <a:pt x="875" y="90"/>
                    <a:pt x="873" y="94"/>
                  </a:cubicBezTo>
                  <a:cubicBezTo>
                    <a:pt x="866" y="95"/>
                    <a:pt x="860" y="96"/>
                    <a:pt x="853" y="94"/>
                  </a:cubicBezTo>
                  <a:cubicBezTo>
                    <a:pt x="851" y="95"/>
                    <a:pt x="848" y="97"/>
                    <a:pt x="845" y="100"/>
                  </a:cubicBezTo>
                  <a:cubicBezTo>
                    <a:pt x="845" y="100"/>
                    <a:pt x="845" y="101"/>
                    <a:pt x="845" y="102"/>
                  </a:cubicBezTo>
                  <a:cubicBezTo>
                    <a:pt x="845" y="103"/>
                    <a:pt x="845" y="105"/>
                    <a:pt x="845" y="105"/>
                  </a:cubicBezTo>
                  <a:cubicBezTo>
                    <a:pt x="843" y="106"/>
                    <a:pt x="842" y="105"/>
                    <a:pt x="842" y="103"/>
                  </a:cubicBezTo>
                  <a:cubicBezTo>
                    <a:pt x="841" y="101"/>
                    <a:pt x="838" y="101"/>
                    <a:pt x="837" y="102"/>
                  </a:cubicBezTo>
                  <a:cubicBezTo>
                    <a:pt x="836" y="105"/>
                    <a:pt x="839" y="108"/>
                    <a:pt x="835" y="110"/>
                  </a:cubicBezTo>
                  <a:cubicBezTo>
                    <a:pt x="828" y="106"/>
                    <a:pt x="824" y="112"/>
                    <a:pt x="819" y="116"/>
                  </a:cubicBezTo>
                  <a:cubicBezTo>
                    <a:pt x="814" y="113"/>
                    <a:pt x="814" y="113"/>
                    <a:pt x="809" y="114"/>
                  </a:cubicBezTo>
                  <a:cubicBezTo>
                    <a:pt x="806" y="115"/>
                    <a:pt x="804" y="114"/>
                    <a:pt x="802" y="112"/>
                  </a:cubicBezTo>
                  <a:cubicBezTo>
                    <a:pt x="800" y="110"/>
                    <a:pt x="799" y="114"/>
                    <a:pt x="797" y="113"/>
                  </a:cubicBezTo>
                  <a:cubicBezTo>
                    <a:pt x="796" y="112"/>
                    <a:pt x="795" y="110"/>
                    <a:pt x="793" y="109"/>
                  </a:cubicBezTo>
                  <a:cubicBezTo>
                    <a:pt x="791" y="111"/>
                    <a:pt x="790" y="112"/>
                    <a:pt x="788" y="113"/>
                  </a:cubicBezTo>
                  <a:cubicBezTo>
                    <a:pt x="781" y="110"/>
                    <a:pt x="775" y="106"/>
                    <a:pt x="768" y="113"/>
                  </a:cubicBezTo>
                  <a:cubicBezTo>
                    <a:pt x="764" y="112"/>
                    <a:pt x="760" y="111"/>
                    <a:pt x="756" y="110"/>
                  </a:cubicBezTo>
                  <a:cubicBezTo>
                    <a:pt x="752" y="115"/>
                    <a:pt x="752" y="115"/>
                    <a:pt x="747" y="114"/>
                  </a:cubicBezTo>
                  <a:cubicBezTo>
                    <a:pt x="747" y="114"/>
                    <a:pt x="746" y="114"/>
                    <a:pt x="745" y="114"/>
                  </a:cubicBezTo>
                  <a:cubicBezTo>
                    <a:pt x="745" y="114"/>
                    <a:pt x="745" y="114"/>
                    <a:pt x="745" y="113"/>
                  </a:cubicBezTo>
                  <a:cubicBezTo>
                    <a:pt x="745" y="110"/>
                    <a:pt x="743" y="108"/>
                    <a:pt x="741" y="106"/>
                  </a:cubicBezTo>
                  <a:cubicBezTo>
                    <a:pt x="740" y="106"/>
                    <a:pt x="739" y="106"/>
                    <a:pt x="739" y="106"/>
                  </a:cubicBezTo>
                  <a:cubicBezTo>
                    <a:pt x="739" y="108"/>
                    <a:pt x="739" y="110"/>
                    <a:pt x="738" y="112"/>
                  </a:cubicBezTo>
                  <a:cubicBezTo>
                    <a:pt x="733" y="112"/>
                    <a:pt x="728" y="112"/>
                    <a:pt x="722" y="112"/>
                  </a:cubicBezTo>
                  <a:cubicBezTo>
                    <a:pt x="716" y="105"/>
                    <a:pt x="716" y="106"/>
                    <a:pt x="713" y="113"/>
                  </a:cubicBezTo>
                  <a:cubicBezTo>
                    <a:pt x="713" y="113"/>
                    <a:pt x="712" y="114"/>
                    <a:pt x="711" y="114"/>
                  </a:cubicBezTo>
                  <a:cubicBezTo>
                    <a:pt x="710" y="113"/>
                    <a:pt x="707" y="112"/>
                    <a:pt x="706" y="111"/>
                  </a:cubicBezTo>
                  <a:cubicBezTo>
                    <a:pt x="704" y="108"/>
                    <a:pt x="701" y="108"/>
                    <a:pt x="698" y="109"/>
                  </a:cubicBezTo>
                  <a:cubicBezTo>
                    <a:pt x="695" y="111"/>
                    <a:pt x="692" y="111"/>
                    <a:pt x="689" y="109"/>
                  </a:cubicBezTo>
                  <a:cubicBezTo>
                    <a:pt x="688" y="109"/>
                    <a:pt x="685" y="109"/>
                    <a:pt x="684" y="109"/>
                  </a:cubicBezTo>
                  <a:cubicBezTo>
                    <a:pt x="681" y="112"/>
                    <a:pt x="677" y="112"/>
                    <a:pt x="674" y="111"/>
                  </a:cubicBezTo>
                  <a:cubicBezTo>
                    <a:pt x="672" y="111"/>
                    <a:pt x="669" y="111"/>
                    <a:pt x="667" y="111"/>
                  </a:cubicBezTo>
                  <a:cubicBezTo>
                    <a:pt x="666" y="116"/>
                    <a:pt x="666" y="123"/>
                    <a:pt x="656" y="122"/>
                  </a:cubicBezTo>
                  <a:cubicBezTo>
                    <a:pt x="656" y="121"/>
                    <a:pt x="654" y="119"/>
                    <a:pt x="653" y="117"/>
                  </a:cubicBezTo>
                  <a:cubicBezTo>
                    <a:pt x="650" y="114"/>
                    <a:pt x="649" y="111"/>
                    <a:pt x="644" y="113"/>
                  </a:cubicBezTo>
                  <a:cubicBezTo>
                    <a:pt x="644" y="114"/>
                    <a:pt x="642" y="112"/>
                    <a:pt x="641" y="112"/>
                  </a:cubicBezTo>
                  <a:cubicBezTo>
                    <a:pt x="640" y="111"/>
                    <a:pt x="638" y="110"/>
                    <a:pt x="637" y="109"/>
                  </a:cubicBezTo>
                  <a:cubicBezTo>
                    <a:pt x="636" y="112"/>
                    <a:pt x="635" y="113"/>
                    <a:pt x="634" y="115"/>
                  </a:cubicBezTo>
                  <a:cubicBezTo>
                    <a:pt x="631" y="115"/>
                    <a:pt x="629" y="115"/>
                    <a:pt x="628" y="112"/>
                  </a:cubicBezTo>
                  <a:cubicBezTo>
                    <a:pt x="627" y="109"/>
                    <a:pt x="624" y="109"/>
                    <a:pt x="622" y="109"/>
                  </a:cubicBezTo>
                  <a:cubicBezTo>
                    <a:pt x="618" y="111"/>
                    <a:pt x="614" y="110"/>
                    <a:pt x="610" y="109"/>
                  </a:cubicBezTo>
                  <a:cubicBezTo>
                    <a:pt x="607" y="106"/>
                    <a:pt x="604" y="108"/>
                    <a:pt x="601" y="109"/>
                  </a:cubicBezTo>
                  <a:cubicBezTo>
                    <a:pt x="593" y="111"/>
                    <a:pt x="585" y="110"/>
                    <a:pt x="578" y="106"/>
                  </a:cubicBezTo>
                  <a:cubicBezTo>
                    <a:pt x="576" y="105"/>
                    <a:pt x="576" y="102"/>
                    <a:pt x="575" y="101"/>
                  </a:cubicBezTo>
                  <a:cubicBezTo>
                    <a:pt x="569" y="97"/>
                    <a:pt x="563" y="92"/>
                    <a:pt x="555" y="93"/>
                  </a:cubicBezTo>
                  <a:cubicBezTo>
                    <a:pt x="553" y="93"/>
                    <a:pt x="551" y="93"/>
                    <a:pt x="548" y="94"/>
                  </a:cubicBezTo>
                  <a:cubicBezTo>
                    <a:pt x="545" y="95"/>
                    <a:pt x="542" y="94"/>
                    <a:pt x="539" y="93"/>
                  </a:cubicBezTo>
                  <a:cubicBezTo>
                    <a:pt x="532" y="91"/>
                    <a:pt x="526" y="88"/>
                    <a:pt x="525" y="80"/>
                  </a:cubicBezTo>
                  <a:cubicBezTo>
                    <a:pt x="524" y="75"/>
                    <a:pt x="520" y="73"/>
                    <a:pt x="515" y="72"/>
                  </a:cubicBezTo>
                  <a:cubicBezTo>
                    <a:pt x="514" y="72"/>
                    <a:pt x="511" y="73"/>
                    <a:pt x="510" y="73"/>
                  </a:cubicBezTo>
                  <a:cubicBezTo>
                    <a:pt x="503" y="63"/>
                    <a:pt x="492" y="61"/>
                    <a:pt x="485" y="53"/>
                  </a:cubicBezTo>
                  <a:cubicBezTo>
                    <a:pt x="482" y="56"/>
                    <a:pt x="481" y="58"/>
                    <a:pt x="481" y="61"/>
                  </a:cubicBezTo>
                  <a:cubicBezTo>
                    <a:pt x="480" y="64"/>
                    <a:pt x="479" y="65"/>
                    <a:pt x="476" y="66"/>
                  </a:cubicBezTo>
                  <a:cubicBezTo>
                    <a:pt x="475" y="66"/>
                    <a:pt x="473" y="66"/>
                    <a:pt x="472" y="66"/>
                  </a:cubicBezTo>
                  <a:cubicBezTo>
                    <a:pt x="472" y="68"/>
                    <a:pt x="473" y="71"/>
                    <a:pt x="473" y="73"/>
                  </a:cubicBezTo>
                  <a:cubicBezTo>
                    <a:pt x="470" y="73"/>
                    <a:pt x="468" y="73"/>
                    <a:pt x="466" y="73"/>
                  </a:cubicBezTo>
                  <a:cubicBezTo>
                    <a:pt x="461" y="72"/>
                    <a:pt x="456" y="72"/>
                    <a:pt x="451" y="73"/>
                  </a:cubicBezTo>
                  <a:cubicBezTo>
                    <a:pt x="446" y="75"/>
                    <a:pt x="441" y="75"/>
                    <a:pt x="435" y="75"/>
                  </a:cubicBezTo>
                  <a:cubicBezTo>
                    <a:pt x="429" y="74"/>
                    <a:pt x="423" y="75"/>
                    <a:pt x="416" y="77"/>
                  </a:cubicBezTo>
                  <a:cubicBezTo>
                    <a:pt x="406" y="80"/>
                    <a:pt x="397" y="79"/>
                    <a:pt x="387" y="75"/>
                  </a:cubicBezTo>
                  <a:cubicBezTo>
                    <a:pt x="383" y="73"/>
                    <a:pt x="378" y="73"/>
                    <a:pt x="374" y="74"/>
                  </a:cubicBezTo>
                  <a:cubicBezTo>
                    <a:pt x="370" y="74"/>
                    <a:pt x="367" y="74"/>
                    <a:pt x="364" y="73"/>
                  </a:cubicBezTo>
                  <a:cubicBezTo>
                    <a:pt x="361" y="73"/>
                    <a:pt x="359" y="72"/>
                    <a:pt x="357" y="72"/>
                  </a:cubicBezTo>
                  <a:cubicBezTo>
                    <a:pt x="354" y="72"/>
                    <a:pt x="351" y="73"/>
                    <a:pt x="348" y="74"/>
                  </a:cubicBezTo>
                  <a:cubicBezTo>
                    <a:pt x="344" y="67"/>
                    <a:pt x="338" y="65"/>
                    <a:pt x="331" y="65"/>
                  </a:cubicBezTo>
                  <a:cubicBezTo>
                    <a:pt x="324" y="65"/>
                    <a:pt x="318" y="64"/>
                    <a:pt x="311" y="64"/>
                  </a:cubicBezTo>
                  <a:cubicBezTo>
                    <a:pt x="308" y="64"/>
                    <a:pt x="305" y="63"/>
                    <a:pt x="302" y="64"/>
                  </a:cubicBezTo>
                  <a:cubicBezTo>
                    <a:pt x="287" y="67"/>
                    <a:pt x="273" y="66"/>
                    <a:pt x="258" y="62"/>
                  </a:cubicBezTo>
                  <a:cubicBezTo>
                    <a:pt x="252" y="60"/>
                    <a:pt x="245" y="57"/>
                    <a:pt x="239" y="62"/>
                  </a:cubicBezTo>
                  <a:cubicBezTo>
                    <a:pt x="238" y="63"/>
                    <a:pt x="237" y="62"/>
                    <a:pt x="236" y="62"/>
                  </a:cubicBezTo>
                  <a:cubicBezTo>
                    <a:pt x="235" y="62"/>
                    <a:pt x="234" y="62"/>
                    <a:pt x="233" y="63"/>
                  </a:cubicBezTo>
                  <a:cubicBezTo>
                    <a:pt x="232" y="64"/>
                    <a:pt x="230" y="65"/>
                    <a:pt x="228" y="64"/>
                  </a:cubicBezTo>
                  <a:cubicBezTo>
                    <a:pt x="226" y="63"/>
                    <a:pt x="224" y="62"/>
                    <a:pt x="222" y="62"/>
                  </a:cubicBezTo>
                  <a:cubicBezTo>
                    <a:pt x="220" y="61"/>
                    <a:pt x="218" y="61"/>
                    <a:pt x="217" y="61"/>
                  </a:cubicBezTo>
                  <a:cubicBezTo>
                    <a:pt x="216" y="66"/>
                    <a:pt x="215" y="71"/>
                    <a:pt x="213" y="75"/>
                  </a:cubicBezTo>
                  <a:cubicBezTo>
                    <a:pt x="210" y="76"/>
                    <a:pt x="208" y="75"/>
                    <a:pt x="206" y="76"/>
                  </a:cubicBezTo>
                  <a:cubicBezTo>
                    <a:pt x="203" y="77"/>
                    <a:pt x="200" y="73"/>
                    <a:pt x="197" y="74"/>
                  </a:cubicBezTo>
                  <a:cubicBezTo>
                    <a:pt x="196" y="75"/>
                    <a:pt x="194" y="78"/>
                    <a:pt x="192" y="78"/>
                  </a:cubicBezTo>
                  <a:cubicBezTo>
                    <a:pt x="189" y="78"/>
                    <a:pt x="187" y="82"/>
                    <a:pt x="184" y="83"/>
                  </a:cubicBezTo>
                  <a:cubicBezTo>
                    <a:pt x="183" y="81"/>
                    <a:pt x="181" y="80"/>
                    <a:pt x="180" y="77"/>
                  </a:cubicBezTo>
                  <a:cubicBezTo>
                    <a:pt x="176" y="78"/>
                    <a:pt x="172" y="77"/>
                    <a:pt x="167" y="77"/>
                  </a:cubicBezTo>
                  <a:cubicBezTo>
                    <a:pt x="163" y="76"/>
                    <a:pt x="159" y="77"/>
                    <a:pt x="155" y="76"/>
                  </a:cubicBezTo>
                  <a:cubicBezTo>
                    <a:pt x="151" y="76"/>
                    <a:pt x="147" y="75"/>
                    <a:pt x="143" y="75"/>
                  </a:cubicBezTo>
                  <a:cubicBezTo>
                    <a:pt x="141" y="75"/>
                    <a:pt x="139" y="76"/>
                    <a:pt x="136" y="76"/>
                  </a:cubicBezTo>
                  <a:cubicBezTo>
                    <a:pt x="135" y="76"/>
                    <a:pt x="134" y="77"/>
                    <a:pt x="133" y="77"/>
                  </a:cubicBezTo>
                  <a:cubicBezTo>
                    <a:pt x="131" y="76"/>
                    <a:pt x="128" y="75"/>
                    <a:pt x="125" y="74"/>
                  </a:cubicBezTo>
                  <a:cubicBezTo>
                    <a:pt x="123" y="74"/>
                    <a:pt x="121" y="78"/>
                    <a:pt x="118" y="77"/>
                  </a:cubicBezTo>
                  <a:cubicBezTo>
                    <a:pt x="115" y="76"/>
                    <a:pt x="112" y="77"/>
                    <a:pt x="110" y="77"/>
                  </a:cubicBezTo>
                  <a:cubicBezTo>
                    <a:pt x="107" y="78"/>
                    <a:pt x="104" y="78"/>
                    <a:pt x="102" y="77"/>
                  </a:cubicBezTo>
                  <a:cubicBezTo>
                    <a:pt x="98" y="75"/>
                    <a:pt x="98" y="75"/>
                    <a:pt x="95" y="79"/>
                  </a:cubicBezTo>
                  <a:cubicBezTo>
                    <a:pt x="93" y="81"/>
                    <a:pt x="91" y="82"/>
                    <a:pt x="89" y="83"/>
                  </a:cubicBezTo>
                  <a:cubicBezTo>
                    <a:pt x="83" y="86"/>
                    <a:pt x="77" y="89"/>
                    <a:pt x="70" y="85"/>
                  </a:cubicBezTo>
                  <a:cubicBezTo>
                    <a:pt x="65" y="85"/>
                    <a:pt x="59" y="82"/>
                    <a:pt x="53" y="86"/>
                  </a:cubicBezTo>
                  <a:cubicBezTo>
                    <a:pt x="51" y="88"/>
                    <a:pt x="47" y="89"/>
                    <a:pt x="44" y="88"/>
                  </a:cubicBezTo>
                  <a:cubicBezTo>
                    <a:pt x="40" y="87"/>
                    <a:pt x="37" y="86"/>
                    <a:pt x="33" y="89"/>
                  </a:cubicBezTo>
                  <a:cubicBezTo>
                    <a:pt x="31" y="91"/>
                    <a:pt x="27" y="88"/>
                    <a:pt x="25" y="91"/>
                  </a:cubicBezTo>
                  <a:cubicBezTo>
                    <a:pt x="22" y="94"/>
                    <a:pt x="20" y="90"/>
                    <a:pt x="17" y="90"/>
                  </a:cubicBezTo>
                  <a:cubicBezTo>
                    <a:pt x="16" y="90"/>
                    <a:pt x="15" y="90"/>
                    <a:pt x="13" y="91"/>
                  </a:cubicBezTo>
                  <a:cubicBezTo>
                    <a:pt x="10" y="92"/>
                    <a:pt x="7" y="92"/>
                    <a:pt x="4" y="90"/>
                  </a:cubicBezTo>
                  <a:cubicBezTo>
                    <a:pt x="2" y="88"/>
                    <a:pt x="2" y="88"/>
                    <a:pt x="0" y="87"/>
                  </a:cubicBezTo>
                  <a:cubicBezTo>
                    <a:pt x="0" y="73"/>
                    <a:pt x="0" y="54"/>
                    <a:pt x="0" y="3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0000" tIns="46800" rIns="90000" bIns="4680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grpSp>
        <p:nvGrpSpPr>
          <p:cNvPr id="9" name="Group 8"/>
          <p:cNvGrpSpPr/>
          <p:nvPr userDrawn="1"/>
        </p:nvGrpSpPr>
        <p:grpSpPr>
          <a:xfrm>
            <a:off x="0" y="3578941"/>
            <a:ext cx="12192000" cy="513850"/>
            <a:chOff x="1" y="4291088"/>
            <a:chExt cx="9144000" cy="51385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" y="4291088"/>
              <a:ext cx="9144000" cy="513850"/>
            </a:xfrm>
            <a:prstGeom prst="rect">
              <a:avLst/>
            </a:prstGeom>
          </p:spPr>
        </p:pic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1" y="4291088"/>
              <a:ext cx="9143998" cy="441325"/>
            </a:xfrm>
            <a:custGeom>
              <a:avLst/>
              <a:gdLst>
                <a:gd name="T0" fmla="*/ 2688 w 2704"/>
                <a:gd name="T1" fmla="*/ 118 h 148"/>
                <a:gd name="T2" fmla="*/ 2637 w 2704"/>
                <a:gd name="T3" fmla="*/ 122 h 148"/>
                <a:gd name="T4" fmla="*/ 2599 w 2704"/>
                <a:gd name="T5" fmla="*/ 121 h 148"/>
                <a:gd name="T6" fmla="*/ 2558 w 2704"/>
                <a:gd name="T7" fmla="*/ 125 h 148"/>
                <a:gd name="T8" fmla="*/ 2517 w 2704"/>
                <a:gd name="T9" fmla="*/ 124 h 148"/>
                <a:gd name="T10" fmla="*/ 2512 w 2704"/>
                <a:gd name="T11" fmla="*/ 129 h 148"/>
                <a:gd name="T12" fmla="*/ 2485 w 2704"/>
                <a:gd name="T13" fmla="*/ 131 h 148"/>
                <a:gd name="T14" fmla="*/ 2451 w 2704"/>
                <a:gd name="T15" fmla="*/ 134 h 148"/>
                <a:gd name="T16" fmla="*/ 2399 w 2704"/>
                <a:gd name="T17" fmla="*/ 136 h 148"/>
                <a:gd name="T18" fmla="*/ 2355 w 2704"/>
                <a:gd name="T19" fmla="*/ 137 h 148"/>
                <a:gd name="T20" fmla="*/ 2312 w 2704"/>
                <a:gd name="T21" fmla="*/ 131 h 148"/>
                <a:gd name="T22" fmla="*/ 2255 w 2704"/>
                <a:gd name="T23" fmla="*/ 118 h 148"/>
                <a:gd name="T24" fmla="*/ 2222 w 2704"/>
                <a:gd name="T25" fmla="*/ 94 h 148"/>
                <a:gd name="T26" fmla="*/ 2167 w 2704"/>
                <a:gd name="T27" fmla="*/ 71 h 148"/>
                <a:gd name="T28" fmla="*/ 2120 w 2704"/>
                <a:gd name="T29" fmla="*/ 64 h 148"/>
                <a:gd name="T30" fmla="*/ 2044 w 2704"/>
                <a:gd name="T31" fmla="*/ 67 h 148"/>
                <a:gd name="T32" fmla="*/ 2004 w 2704"/>
                <a:gd name="T33" fmla="*/ 64 h 148"/>
                <a:gd name="T34" fmla="*/ 1954 w 2704"/>
                <a:gd name="T35" fmla="*/ 55 h 148"/>
                <a:gd name="T36" fmla="*/ 1890 w 2704"/>
                <a:gd name="T37" fmla="*/ 53 h 148"/>
                <a:gd name="T38" fmla="*/ 1853 w 2704"/>
                <a:gd name="T39" fmla="*/ 65 h 148"/>
                <a:gd name="T40" fmla="*/ 1820 w 2704"/>
                <a:gd name="T41" fmla="*/ 67 h 148"/>
                <a:gd name="T42" fmla="*/ 1774 w 2704"/>
                <a:gd name="T43" fmla="*/ 68 h 148"/>
                <a:gd name="T44" fmla="*/ 1708 w 2704"/>
                <a:gd name="T45" fmla="*/ 78 h 148"/>
                <a:gd name="T46" fmla="*/ 1668 w 2704"/>
                <a:gd name="T47" fmla="*/ 83 h 148"/>
                <a:gd name="T48" fmla="*/ 1608 w 2704"/>
                <a:gd name="T49" fmla="*/ 81 h 148"/>
                <a:gd name="T50" fmla="*/ 1559 w 2704"/>
                <a:gd name="T51" fmla="*/ 82 h 148"/>
                <a:gd name="T52" fmla="*/ 1516 w 2704"/>
                <a:gd name="T53" fmla="*/ 85 h 148"/>
                <a:gd name="T54" fmla="*/ 1464 w 2704"/>
                <a:gd name="T55" fmla="*/ 81 h 148"/>
                <a:gd name="T56" fmla="*/ 1402 w 2704"/>
                <a:gd name="T57" fmla="*/ 78 h 148"/>
                <a:gd name="T58" fmla="*/ 1336 w 2704"/>
                <a:gd name="T59" fmla="*/ 88 h 148"/>
                <a:gd name="T60" fmla="*/ 1296 w 2704"/>
                <a:gd name="T61" fmla="*/ 99 h 148"/>
                <a:gd name="T62" fmla="*/ 1255 w 2704"/>
                <a:gd name="T63" fmla="*/ 102 h 148"/>
                <a:gd name="T64" fmla="*/ 1205 w 2704"/>
                <a:gd name="T65" fmla="*/ 93 h 148"/>
                <a:gd name="T66" fmla="*/ 1183 w 2704"/>
                <a:gd name="T67" fmla="*/ 99 h 148"/>
                <a:gd name="T68" fmla="*/ 1124 w 2704"/>
                <a:gd name="T69" fmla="*/ 113 h 148"/>
                <a:gd name="T70" fmla="*/ 1045 w 2704"/>
                <a:gd name="T71" fmla="*/ 101 h 148"/>
                <a:gd name="T72" fmla="*/ 1002 w 2704"/>
                <a:gd name="T73" fmla="*/ 101 h 148"/>
                <a:gd name="T74" fmla="*/ 951 w 2704"/>
                <a:gd name="T75" fmla="*/ 101 h 148"/>
                <a:gd name="T76" fmla="*/ 890 w 2704"/>
                <a:gd name="T77" fmla="*/ 88 h 148"/>
                <a:gd name="T78" fmla="*/ 845 w 2704"/>
                <a:gd name="T79" fmla="*/ 102 h 148"/>
                <a:gd name="T80" fmla="*/ 819 w 2704"/>
                <a:gd name="T81" fmla="*/ 116 h 148"/>
                <a:gd name="T82" fmla="*/ 788 w 2704"/>
                <a:gd name="T83" fmla="*/ 113 h 148"/>
                <a:gd name="T84" fmla="*/ 745 w 2704"/>
                <a:gd name="T85" fmla="*/ 113 h 148"/>
                <a:gd name="T86" fmla="*/ 713 w 2704"/>
                <a:gd name="T87" fmla="*/ 113 h 148"/>
                <a:gd name="T88" fmla="*/ 684 w 2704"/>
                <a:gd name="T89" fmla="*/ 109 h 148"/>
                <a:gd name="T90" fmla="*/ 644 w 2704"/>
                <a:gd name="T91" fmla="*/ 113 h 148"/>
                <a:gd name="T92" fmla="*/ 622 w 2704"/>
                <a:gd name="T93" fmla="*/ 109 h 148"/>
                <a:gd name="T94" fmla="*/ 555 w 2704"/>
                <a:gd name="T95" fmla="*/ 93 h 148"/>
                <a:gd name="T96" fmla="*/ 510 w 2704"/>
                <a:gd name="T97" fmla="*/ 73 h 148"/>
                <a:gd name="T98" fmla="*/ 473 w 2704"/>
                <a:gd name="T99" fmla="*/ 73 h 148"/>
                <a:gd name="T100" fmla="*/ 387 w 2704"/>
                <a:gd name="T101" fmla="*/ 75 h 148"/>
                <a:gd name="T102" fmla="*/ 331 w 2704"/>
                <a:gd name="T103" fmla="*/ 65 h 148"/>
                <a:gd name="T104" fmla="*/ 236 w 2704"/>
                <a:gd name="T105" fmla="*/ 62 h 148"/>
                <a:gd name="T106" fmla="*/ 213 w 2704"/>
                <a:gd name="T107" fmla="*/ 75 h 148"/>
                <a:gd name="T108" fmla="*/ 180 w 2704"/>
                <a:gd name="T109" fmla="*/ 77 h 148"/>
                <a:gd name="T110" fmla="*/ 133 w 2704"/>
                <a:gd name="T111" fmla="*/ 77 h 148"/>
                <a:gd name="T112" fmla="*/ 95 w 2704"/>
                <a:gd name="T113" fmla="*/ 79 h 148"/>
                <a:gd name="T114" fmla="*/ 33 w 2704"/>
                <a:gd name="T115" fmla="*/ 89 h 148"/>
                <a:gd name="T116" fmla="*/ 0 w 2704"/>
                <a:gd name="T117" fmla="*/ 87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704" h="148">
                  <a:moveTo>
                    <a:pt x="0" y="0"/>
                  </a:moveTo>
                  <a:cubicBezTo>
                    <a:pt x="2704" y="0"/>
                    <a:pt x="2704" y="0"/>
                    <a:pt x="2704" y="0"/>
                  </a:cubicBezTo>
                  <a:cubicBezTo>
                    <a:pt x="2704" y="18"/>
                    <a:pt x="2704" y="18"/>
                    <a:pt x="2704" y="18"/>
                  </a:cubicBezTo>
                  <a:cubicBezTo>
                    <a:pt x="2704" y="57"/>
                    <a:pt x="2704" y="90"/>
                    <a:pt x="2704" y="113"/>
                  </a:cubicBezTo>
                  <a:cubicBezTo>
                    <a:pt x="2700" y="116"/>
                    <a:pt x="2693" y="116"/>
                    <a:pt x="2688" y="118"/>
                  </a:cubicBezTo>
                  <a:cubicBezTo>
                    <a:pt x="2683" y="118"/>
                    <a:pt x="2678" y="119"/>
                    <a:pt x="2674" y="122"/>
                  </a:cubicBezTo>
                  <a:cubicBezTo>
                    <a:pt x="2673" y="124"/>
                    <a:pt x="2670" y="124"/>
                    <a:pt x="2669" y="124"/>
                  </a:cubicBezTo>
                  <a:cubicBezTo>
                    <a:pt x="2663" y="123"/>
                    <a:pt x="2658" y="122"/>
                    <a:pt x="2653" y="121"/>
                  </a:cubicBezTo>
                  <a:cubicBezTo>
                    <a:pt x="2651" y="120"/>
                    <a:pt x="2650" y="120"/>
                    <a:pt x="2649" y="120"/>
                  </a:cubicBezTo>
                  <a:cubicBezTo>
                    <a:pt x="2645" y="121"/>
                    <a:pt x="2641" y="122"/>
                    <a:pt x="2637" y="122"/>
                  </a:cubicBezTo>
                  <a:cubicBezTo>
                    <a:pt x="2632" y="127"/>
                    <a:pt x="2625" y="125"/>
                    <a:pt x="2620" y="131"/>
                  </a:cubicBezTo>
                  <a:cubicBezTo>
                    <a:pt x="2619" y="131"/>
                    <a:pt x="2617" y="131"/>
                    <a:pt x="2615" y="131"/>
                  </a:cubicBezTo>
                  <a:cubicBezTo>
                    <a:pt x="2613" y="131"/>
                    <a:pt x="2610" y="129"/>
                    <a:pt x="2610" y="127"/>
                  </a:cubicBezTo>
                  <a:cubicBezTo>
                    <a:pt x="2609" y="122"/>
                    <a:pt x="2606" y="120"/>
                    <a:pt x="2601" y="121"/>
                  </a:cubicBezTo>
                  <a:cubicBezTo>
                    <a:pt x="2601" y="121"/>
                    <a:pt x="2599" y="121"/>
                    <a:pt x="2599" y="121"/>
                  </a:cubicBezTo>
                  <a:cubicBezTo>
                    <a:pt x="2594" y="119"/>
                    <a:pt x="2588" y="119"/>
                    <a:pt x="2583" y="121"/>
                  </a:cubicBezTo>
                  <a:cubicBezTo>
                    <a:pt x="2580" y="122"/>
                    <a:pt x="2578" y="121"/>
                    <a:pt x="2576" y="120"/>
                  </a:cubicBezTo>
                  <a:cubicBezTo>
                    <a:pt x="2573" y="119"/>
                    <a:pt x="2571" y="118"/>
                    <a:pt x="2569" y="120"/>
                  </a:cubicBezTo>
                  <a:cubicBezTo>
                    <a:pt x="2566" y="122"/>
                    <a:pt x="2561" y="120"/>
                    <a:pt x="2560" y="124"/>
                  </a:cubicBezTo>
                  <a:cubicBezTo>
                    <a:pt x="2560" y="125"/>
                    <a:pt x="2559" y="125"/>
                    <a:pt x="2558" y="125"/>
                  </a:cubicBezTo>
                  <a:cubicBezTo>
                    <a:pt x="2555" y="124"/>
                    <a:pt x="2553" y="127"/>
                    <a:pt x="2550" y="128"/>
                  </a:cubicBezTo>
                  <a:cubicBezTo>
                    <a:pt x="2547" y="129"/>
                    <a:pt x="2542" y="130"/>
                    <a:pt x="2538" y="129"/>
                  </a:cubicBezTo>
                  <a:cubicBezTo>
                    <a:pt x="2531" y="127"/>
                    <a:pt x="2525" y="125"/>
                    <a:pt x="2517" y="125"/>
                  </a:cubicBezTo>
                  <a:cubicBezTo>
                    <a:pt x="2517" y="125"/>
                    <a:pt x="2517" y="125"/>
                    <a:pt x="2517" y="125"/>
                  </a:cubicBezTo>
                  <a:cubicBezTo>
                    <a:pt x="2517" y="124"/>
                    <a:pt x="2517" y="124"/>
                    <a:pt x="2517" y="124"/>
                  </a:cubicBezTo>
                  <a:cubicBezTo>
                    <a:pt x="2517" y="124"/>
                    <a:pt x="2517" y="124"/>
                    <a:pt x="2517" y="124"/>
                  </a:cubicBezTo>
                  <a:cubicBezTo>
                    <a:pt x="2517" y="125"/>
                    <a:pt x="2517" y="125"/>
                    <a:pt x="2517" y="125"/>
                  </a:cubicBezTo>
                  <a:cubicBezTo>
                    <a:pt x="2517" y="126"/>
                    <a:pt x="2517" y="126"/>
                    <a:pt x="2517" y="126"/>
                  </a:cubicBezTo>
                  <a:cubicBezTo>
                    <a:pt x="2517" y="127"/>
                    <a:pt x="2517" y="127"/>
                    <a:pt x="2517" y="128"/>
                  </a:cubicBezTo>
                  <a:cubicBezTo>
                    <a:pt x="2516" y="131"/>
                    <a:pt x="2515" y="132"/>
                    <a:pt x="2512" y="129"/>
                  </a:cubicBezTo>
                  <a:cubicBezTo>
                    <a:pt x="2511" y="129"/>
                    <a:pt x="2511" y="129"/>
                    <a:pt x="2510" y="129"/>
                  </a:cubicBezTo>
                  <a:cubicBezTo>
                    <a:pt x="2510" y="130"/>
                    <a:pt x="2509" y="131"/>
                    <a:pt x="2508" y="133"/>
                  </a:cubicBezTo>
                  <a:cubicBezTo>
                    <a:pt x="2507" y="132"/>
                    <a:pt x="2506" y="130"/>
                    <a:pt x="2505" y="130"/>
                  </a:cubicBezTo>
                  <a:cubicBezTo>
                    <a:pt x="2501" y="131"/>
                    <a:pt x="2497" y="128"/>
                    <a:pt x="2493" y="129"/>
                  </a:cubicBezTo>
                  <a:cubicBezTo>
                    <a:pt x="2491" y="130"/>
                    <a:pt x="2488" y="130"/>
                    <a:pt x="2485" y="131"/>
                  </a:cubicBezTo>
                  <a:cubicBezTo>
                    <a:pt x="2484" y="128"/>
                    <a:pt x="2483" y="124"/>
                    <a:pt x="2482" y="121"/>
                  </a:cubicBezTo>
                  <a:cubicBezTo>
                    <a:pt x="2480" y="121"/>
                    <a:pt x="2478" y="121"/>
                    <a:pt x="2476" y="121"/>
                  </a:cubicBezTo>
                  <a:cubicBezTo>
                    <a:pt x="2475" y="121"/>
                    <a:pt x="2475" y="117"/>
                    <a:pt x="2472" y="118"/>
                  </a:cubicBezTo>
                  <a:cubicBezTo>
                    <a:pt x="2472" y="121"/>
                    <a:pt x="2471" y="124"/>
                    <a:pt x="2470" y="128"/>
                  </a:cubicBezTo>
                  <a:cubicBezTo>
                    <a:pt x="2464" y="130"/>
                    <a:pt x="2458" y="132"/>
                    <a:pt x="2451" y="134"/>
                  </a:cubicBezTo>
                  <a:cubicBezTo>
                    <a:pt x="2449" y="133"/>
                    <a:pt x="2447" y="132"/>
                    <a:pt x="2445" y="131"/>
                  </a:cubicBezTo>
                  <a:cubicBezTo>
                    <a:pt x="2441" y="132"/>
                    <a:pt x="2438" y="133"/>
                    <a:pt x="2436" y="135"/>
                  </a:cubicBezTo>
                  <a:cubicBezTo>
                    <a:pt x="2431" y="140"/>
                    <a:pt x="2425" y="139"/>
                    <a:pt x="2420" y="137"/>
                  </a:cubicBezTo>
                  <a:cubicBezTo>
                    <a:pt x="2416" y="136"/>
                    <a:pt x="2412" y="135"/>
                    <a:pt x="2408" y="136"/>
                  </a:cubicBezTo>
                  <a:cubicBezTo>
                    <a:pt x="2405" y="136"/>
                    <a:pt x="2402" y="136"/>
                    <a:pt x="2399" y="136"/>
                  </a:cubicBezTo>
                  <a:cubicBezTo>
                    <a:pt x="2397" y="135"/>
                    <a:pt x="2394" y="134"/>
                    <a:pt x="2391" y="133"/>
                  </a:cubicBezTo>
                  <a:cubicBezTo>
                    <a:pt x="2389" y="133"/>
                    <a:pt x="2388" y="134"/>
                    <a:pt x="2386" y="136"/>
                  </a:cubicBezTo>
                  <a:cubicBezTo>
                    <a:pt x="2382" y="139"/>
                    <a:pt x="2379" y="140"/>
                    <a:pt x="2374" y="139"/>
                  </a:cubicBezTo>
                  <a:cubicBezTo>
                    <a:pt x="2373" y="139"/>
                    <a:pt x="2372" y="139"/>
                    <a:pt x="2371" y="139"/>
                  </a:cubicBezTo>
                  <a:cubicBezTo>
                    <a:pt x="2365" y="143"/>
                    <a:pt x="2360" y="138"/>
                    <a:pt x="2355" y="137"/>
                  </a:cubicBezTo>
                  <a:cubicBezTo>
                    <a:pt x="2354" y="133"/>
                    <a:pt x="2352" y="133"/>
                    <a:pt x="2350" y="133"/>
                  </a:cubicBezTo>
                  <a:cubicBezTo>
                    <a:pt x="2346" y="134"/>
                    <a:pt x="2343" y="134"/>
                    <a:pt x="2339" y="137"/>
                  </a:cubicBezTo>
                  <a:cubicBezTo>
                    <a:pt x="2335" y="139"/>
                    <a:pt x="2332" y="141"/>
                    <a:pt x="2328" y="144"/>
                  </a:cubicBezTo>
                  <a:cubicBezTo>
                    <a:pt x="2326" y="146"/>
                    <a:pt x="2325" y="148"/>
                    <a:pt x="2323" y="146"/>
                  </a:cubicBezTo>
                  <a:cubicBezTo>
                    <a:pt x="2318" y="141"/>
                    <a:pt x="2315" y="136"/>
                    <a:pt x="2312" y="131"/>
                  </a:cubicBezTo>
                  <a:cubicBezTo>
                    <a:pt x="2304" y="127"/>
                    <a:pt x="2298" y="129"/>
                    <a:pt x="2292" y="132"/>
                  </a:cubicBezTo>
                  <a:cubicBezTo>
                    <a:pt x="2288" y="131"/>
                    <a:pt x="2285" y="130"/>
                    <a:pt x="2282" y="129"/>
                  </a:cubicBezTo>
                  <a:cubicBezTo>
                    <a:pt x="2280" y="127"/>
                    <a:pt x="2278" y="124"/>
                    <a:pt x="2275" y="122"/>
                  </a:cubicBezTo>
                  <a:cubicBezTo>
                    <a:pt x="2274" y="121"/>
                    <a:pt x="2272" y="120"/>
                    <a:pt x="2271" y="120"/>
                  </a:cubicBezTo>
                  <a:cubicBezTo>
                    <a:pt x="2266" y="118"/>
                    <a:pt x="2261" y="116"/>
                    <a:pt x="2255" y="118"/>
                  </a:cubicBezTo>
                  <a:cubicBezTo>
                    <a:pt x="2253" y="118"/>
                    <a:pt x="2251" y="118"/>
                    <a:pt x="2250" y="118"/>
                  </a:cubicBezTo>
                  <a:cubicBezTo>
                    <a:pt x="2249" y="116"/>
                    <a:pt x="2248" y="115"/>
                    <a:pt x="2247" y="114"/>
                  </a:cubicBezTo>
                  <a:cubicBezTo>
                    <a:pt x="2244" y="109"/>
                    <a:pt x="2241" y="104"/>
                    <a:pt x="2234" y="103"/>
                  </a:cubicBezTo>
                  <a:cubicBezTo>
                    <a:pt x="2233" y="103"/>
                    <a:pt x="2231" y="102"/>
                    <a:pt x="2230" y="101"/>
                  </a:cubicBezTo>
                  <a:cubicBezTo>
                    <a:pt x="2228" y="99"/>
                    <a:pt x="2225" y="96"/>
                    <a:pt x="2222" y="94"/>
                  </a:cubicBezTo>
                  <a:cubicBezTo>
                    <a:pt x="2221" y="93"/>
                    <a:pt x="2217" y="93"/>
                    <a:pt x="2215" y="92"/>
                  </a:cubicBezTo>
                  <a:cubicBezTo>
                    <a:pt x="2212" y="90"/>
                    <a:pt x="2212" y="86"/>
                    <a:pt x="2210" y="84"/>
                  </a:cubicBezTo>
                  <a:cubicBezTo>
                    <a:pt x="2203" y="82"/>
                    <a:pt x="2195" y="80"/>
                    <a:pt x="2188" y="77"/>
                  </a:cubicBezTo>
                  <a:cubicBezTo>
                    <a:pt x="2186" y="77"/>
                    <a:pt x="2185" y="76"/>
                    <a:pt x="2184" y="75"/>
                  </a:cubicBezTo>
                  <a:cubicBezTo>
                    <a:pt x="2178" y="72"/>
                    <a:pt x="2173" y="72"/>
                    <a:pt x="2167" y="71"/>
                  </a:cubicBezTo>
                  <a:cubicBezTo>
                    <a:pt x="2164" y="70"/>
                    <a:pt x="2163" y="72"/>
                    <a:pt x="2162" y="74"/>
                  </a:cubicBezTo>
                  <a:cubicBezTo>
                    <a:pt x="2160" y="73"/>
                    <a:pt x="2160" y="72"/>
                    <a:pt x="2159" y="72"/>
                  </a:cubicBezTo>
                  <a:cubicBezTo>
                    <a:pt x="2153" y="69"/>
                    <a:pt x="2147" y="67"/>
                    <a:pt x="2141" y="64"/>
                  </a:cubicBezTo>
                  <a:cubicBezTo>
                    <a:pt x="2140" y="63"/>
                    <a:pt x="2138" y="63"/>
                    <a:pt x="2137" y="64"/>
                  </a:cubicBezTo>
                  <a:cubicBezTo>
                    <a:pt x="2131" y="67"/>
                    <a:pt x="2125" y="65"/>
                    <a:pt x="2120" y="64"/>
                  </a:cubicBezTo>
                  <a:cubicBezTo>
                    <a:pt x="2116" y="64"/>
                    <a:pt x="2112" y="64"/>
                    <a:pt x="2108" y="64"/>
                  </a:cubicBezTo>
                  <a:cubicBezTo>
                    <a:pt x="2103" y="65"/>
                    <a:pt x="2098" y="67"/>
                    <a:pt x="2092" y="66"/>
                  </a:cubicBezTo>
                  <a:cubicBezTo>
                    <a:pt x="2085" y="66"/>
                    <a:pt x="2078" y="67"/>
                    <a:pt x="2071" y="69"/>
                  </a:cubicBezTo>
                  <a:cubicBezTo>
                    <a:pt x="2063" y="71"/>
                    <a:pt x="2056" y="72"/>
                    <a:pt x="2048" y="68"/>
                  </a:cubicBezTo>
                  <a:cubicBezTo>
                    <a:pt x="2046" y="68"/>
                    <a:pt x="2045" y="68"/>
                    <a:pt x="2044" y="67"/>
                  </a:cubicBezTo>
                  <a:cubicBezTo>
                    <a:pt x="2039" y="64"/>
                    <a:pt x="2034" y="64"/>
                    <a:pt x="2028" y="65"/>
                  </a:cubicBezTo>
                  <a:cubicBezTo>
                    <a:pt x="2023" y="65"/>
                    <a:pt x="2018" y="65"/>
                    <a:pt x="2013" y="63"/>
                  </a:cubicBezTo>
                  <a:cubicBezTo>
                    <a:pt x="2012" y="63"/>
                    <a:pt x="2011" y="63"/>
                    <a:pt x="2010" y="64"/>
                  </a:cubicBezTo>
                  <a:cubicBezTo>
                    <a:pt x="2008" y="64"/>
                    <a:pt x="2007" y="65"/>
                    <a:pt x="2006" y="65"/>
                  </a:cubicBezTo>
                  <a:cubicBezTo>
                    <a:pt x="2005" y="64"/>
                    <a:pt x="2004" y="64"/>
                    <a:pt x="2004" y="64"/>
                  </a:cubicBezTo>
                  <a:cubicBezTo>
                    <a:pt x="2000" y="59"/>
                    <a:pt x="1995" y="57"/>
                    <a:pt x="1989" y="57"/>
                  </a:cubicBezTo>
                  <a:cubicBezTo>
                    <a:pt x="1977" y="57"/>
                    <a:pt x="1966" y="56"/>
                    <a:pt x="1954" y="55"/>
                  </a:cubicBezTo>
                  <a:cubicBezTo>
                    <a:pt x="1954" y="53"/>
                    <a:pt x="1954" y="52"/>
                    <a:pt x="1954" y="50"/>
                  </a:cubicBezTo>
                  <a:cubicBezTo>
                    <a:pt x="1953" y="50"/>
                    <a:pt x="1953" y="50"/>
                    <a:pt x="1953" y="50"/>
                  </a:cubicBezTo>
                  <a:cubicBezTo>
                    <a:pt x="1953" y="52"/>
                    <a:pt x="1954" y="54"/>
                    <a:pt x="1954" y="55"/>
                  </a:cubicBezTo>
                  <a:cubicBezTo>
                    <a:pt x="1953" y="55"/>
                    <a:pt x="1953" y="56"/>
                    <a:pt x="1952" y="56"/>
                  </a:cubicBezTo>
                  <a:cubicBezTo>
                    <a:pt x="1941" y="57"/>
                    <a:pt x="1931" y="58"/>
                    <a:pt x="1920" y="55"/>
                  </a:cubicBezTo>
                  <a:cubicBezTo>
                    <a:pt x="1916" y="53"/>
                    <a:pt x="1911" y="52"/>
                    <a:pt x="1907" y="51"/>
                  </a:cubicBezTo>
                  <a:cubicBezTo>
                    <a:pt x="1905" y="51"/>
                    <a:pt x="1904" y="50"/>
                    <a:pt x="1902" y="51"/>
                  </a:cubicBezTo>
                  <a:cubicBezTo>
                    <a:pt x="1898" y="52"/>
                    <a:pt x="1894" y="54"/>
                    <a:pt x="1890" y="53"/>
                  </a:cubicBezTo>
                  <a:cubicBezTo>
                    <a:pt x="1886" y="57"/>
                    <a:pt x="1881" y="55"/>
                    <a:pt x="1877" y="53"/>
                  </a:cubicBezTo>
                  <a:cubicBezTo>
                    <a:pt x="1876" y="52"/>
                    <a:pt x="1875" y="52"/>
                    <a:pt x="1873" y="52"/>
                  </a:cubicBezTo>
                  <a:cubicBezTo>
                    <a:pt x="1872" y="56"/>
                    <a:pt x="1870" y="61"/>
                    <a:pt x="1869" y="66"/>
                  </a:cubicBezTo>
                  <a:cubicBezTo>
                    <a:pt x="1868" y="66"/>
                    <a:pt x="1867" y="67"/>
                    <a:pt x="1866" y="67"/>
                  </a:cubicBezTo>
                  <a:cubicBezTo>
                    <a:pt x="1862" y="66"/>
                    <a:pt x="1857" y="66"/>
                    <a:pt x="1853" y="65"/>
                  </a:cubicBezTo>
                  <a:cubicBezTo>
                    <a:pt x="1851" y="67"/>
                    <a:pt x="1850" y="70"/>
                    <a:pt x="1849" y="70"/>
                  </a:cubicBezTo>
                  <a:cubicBezTo>
                    <a:pt x="1846" y="71"/>
                    <a:pt x="1844" y="73"/>
                    <a:pt x="1840" y="74"/>
                  </a:cubicBezTo>
                  <a:cubicBezTo>
                    <a:pt x="1839" y="72"/>
                    <a:pt x="1837" y="70"/>
                    <a:pt x="1836" y="68"/>
                  </a:cubicBezTo>
                  <a:cubicBezTo>
                    <a:pt x="1834" y="68"/>
                    <a:pt x="1832" y="69"/>
                    <a:pt x="1831" y="69"/>
                  </a:cubicBezTo>
                  <a:cubicBezTo>
                    <a:pt x="1827" y="69"/>
                    <a:pt x="1824" y="68"/>
                    <a:pt x="1820" y="67"/>
                  </a:cubicBezTo>
                  <a:cubicBezTo>
                    <a:pt x="1817" y="66"/>
                    <a:pt x="1814" y="69"/>
                    <a:pt x="1810" y="68"/>
                  </a:cubicBezTo>
                  <a:cubicBezTo>
                    <a:pt x="1804" y="65"/>
                    <a:pt x="1798" y="66"/>
                    <a:pt x="1792" y="67"/>
                  </a:cubicBezTo>
                  <a:cubicBezTo>
                    <a:pt x="1790" y="68"/>
                    <a:pt x="1788" y="69"/>
                    <a:pt x="1785" y="67"/>
                  </a:cubicBezTo>
                  <a:cubicBezTo>
                    <a:pt x="1783" y="65"/>
                    <a:pt x="1781" y="65"/>
                    <a:pt x="1779" y="67"/>
                  </a:cubicBezTo>
                  <a:cubicBezTo>
                    <a:pt x="1777" y="67"/>
                    <a:pt x="1775" y="68"/>
                    <a:pt x="1774" y="68"/>
                  </a:cubicBezTo>
                  <a:cubicBezTo>
                    <a:pt x="1771" y="68"/>
                    <a:pt x="1768" y="68"/>
                    <a:pt x="1765" y="68"/>
                  </a:cubicBezTo>
                  <a:cubicBezTo>
                    <a:pt x="1762" y="69"/>
                    <a:pt x="1760" y="69"/>
                    <a:pt x="1757" y="68"/>
                  </a:cubicBezTo>
                  <a:cubicBezTo>
                    <a:pt x="1754" y="66"/>
                    <a:pt x="1752" y="67"/>
                    <a:pt x="1749" y="70"/>
                  </a:cubicBezTo>
                  <a:cubicBezTo>
                    <a:pt x="1744" y="77"/>
                    <a:pt x="1736" y="78"/>
                    <a:pt x="1728" y="77"/>
                  </a:cubicBezTo>
                  <a:cubicBezTo>
                    <a:pt x="1722" y="76"/>
                    <a:pt x="1715" y="74"/>
                    <a:pt x="1708" y="78"/>
                  </a:cubicBezTo>
                  <a:cubicBezTo>
                    <a:pt x="1705" y="80"/>
                    <a:pt x="1701" y="80"/>
                    <a:pt x="1698" y="79"/>
                  </a:cubicBezTo>
                  <a:cubicBezTo>
                    <a:pt x="1696" y="79"/>
                    <a:pt x="1694" y="78"/>
                    <a:pt x="1692" y="79"/>
                  </a:cubicBezTo>
                  <a:cubicBezTo>
                    <a:pt x="1689" y="82"/>
                    <a:pt x="1685" y="79"/>
                    <a:pt x="1682" y="81"/>
                  </a:cubicBezTo>
                  <a:cubicBezTo>
                    <a:pt x="1679" y="85"/>
                    <a:pt x="1676" y="82"/>
                    <a:pt x="1673" y="82"/>
                  </a:cubicBezTo>
                  <a:cubicBezTo>
                    <a:pt x="1671" y="81"/>
                    <a:pt x="1670" y="82"/>
                    <a:pt x="1668" y="83"/>
                  </a:cubicBezTo>
                  <a:cubicBezTo>
                    <a:pt x="1666" y="84"/>
                    <a:pt x="1663" y="83"/>
                    <a:pt x="1661" y="82"/>
                  </a:cubicBezTo>
                  <a:cubicBezTo>
                    <a:pt x="1660" y="81"/>
                    <a:pt x="1658" y="81"/>
                    <a:pt x="1657" y="80"/>
                  </a:cubicBezTo>
                  <a:cubicBezTo>
                    <a:pt x="1650" y="81"/>
                    <a:pt x="1643" y="83"/>
                    <a:pt x="1636" y="84"/>
                  </a:cubicBezTo>
                  <a:cubicBezTo>
                    <a:pt x="1633" y="85"/>
                    <a:pt x="1630" y="85"/>
                    <a:pt x="1628" y="84"/>
                  </a:cubicBezTo>
                  <a:cubicBezTo>
                    <a:pt x="1621" y="80"/>
                    <a:pt x="1615" y="80"/>
                    <a:pt x="1608" y="81"/>
                  </a:cubicBezTo>
                  <a:cubicBezTo>
                    <a:pt x="1605" y="84"/>
                    <a:pt x="1603" y="88"/>
                    <a:pt x="1598" y="87"/>
                  </a:cubicBezTo>
                  <a:cubicBezTo>
                    <a:pt x="1594" y="90"/>
                    <a:pt x="1590" y="88"/>
                    <a:pt x="1586" y="86"/>
                  </a:cubicBezTo>
                  <a:cubicBezTo>
                    <a:pt x="1581" y="84"/>
                    <a:pt x="1575" y="83"/>
                    <a:pt x="1570" y="81"/>
                  </a:cubicBezTo>
                  <a:cubicBezTo>
                    <a:pt x="1567" y="80"/>
                    <a:pt x="1565" y="79"/>
                    <a:pt x="1562" y="82"/>
                  </a:cubicBezTo>
                  <a:cubicBezTo>
                    <a:pt x="1561" y="82"/>
                    <a:pt x="1559" y="82"/>
                    <a:pt x="1559" y="82"/>
                  </a:cubicBezTo>
                  <a:cubicBezTo>
                    <a:pt x="1555" y="80"/>
                    <a:pt x="1554" y="76"/>
                    <a:pt x="1549" y="75"/>
                  </a:cubicBezTo>
                  <a:cubicBezTo>
                    <a:pt x="1549" y="78"/>
                    <a:pt x="1550" y="81"/>
                    <a:pt x="1548" y="83"/>
                  </a:cubicBezTo>
                  <a:cubicBezTo>
                    <a:pt x="1546" y="86"/>
                    <a:pt x="1542" y="86"/>
                    <a:pt x="1540" y="85"/>
                  </a:cubicBezTo>
                  <a:cubicBezTo>
                    <a:pt x="1536" y="83"/>
                    <a:pt x="1532" y="84"/>
                    <a:pt x="1528" y="84"/>
                  </a:cubicBezTo>
                  <a:cubicBezTo>
                    <a:pt x="1524" y="84"/>
                    <a:pt x="1520" y="83"/>
                    <a:pt x="1516" y="85"/>
                  </a:cubicBezTo>
                  <a:cubicBezTo>
                    <a:pt x="1516" y="85"/>
                    <a:pt x="1514" y="85"/>
                    <a:pt x="1513" y="85"/>
                  </a:cubicBezTo>
                  <a:cubicBezTo>
                    <a:pt x="1511" y="84"/>
                    <a:pt x="1508" y="83"/>
                    <a:pt x="1506" y="83"/>
                  </a:cubicBezTo>
                  <a:cubicBezTo>
                    <a:pt x="1502" y="83"/>
                    <a:pt x="1499" y="82"/>
                    <a:pt x="1496" y="81"/>
                  </a:cubicBezTo>
                  <a:cubicBezTo>
                    <a:pt x="1489" y="78"/>
                    <a:pt x="1483" y="76"/>
                    <a:pt x="1475" y="79"/>
                  </a:cubicBezTo>
                  <a:cubicBezTo>
                    <a:pt x="1471" y="78"/>
                    <a:pt x="1467" y="78"/>
                    <a:pt x="1464" y="81"/>
                  </a:cubicBezTo>
                  <a:cubicBezTo>
                    <a:pt x="1462" y="82"/>
                    <a:pt x="1459" y="82"/>
                    <a:pt x="1456" y="82"/>
                  </a:cubicBezTo>
                  <a:cubicBezTo>
                    <a:pt x="1454" y="82"/>
                    <a:pt x="1452" y="82"/>
                    <a:pt x="1450" y="82"/>
                  </a:cubicBezTo>
                  <a:cubicBezTo>
                    <a:pt x="1443" y="81"/>
                    <a:pt x="1437" y="82"/>
                    <a:pt x="1431" y="80"/>
                  </a:cubicBezTo>
                  <a:cubicBezTo>
                    <a:pt x="1427" y="79"/>
                    <a:pt x="1424" y="80"/>
                    <a:pt x="1421" y="80"/>
                  </a:cubicBezTo>
                  <a:cubicBezTo>
                    <a:pt x="1415" y="82"/>
                    <a:pt x="1408" y="80"/>
                    <a:pt x="1402" y="78"/>
                  </a:cubicBezTo>
                  <a:cubicBezTo>
                    <a:pt x="1394" y="77"/>
                    <a:pt x="1385" y="78"/>
                    <a:pt x="1377" y="80"/>
                  </a:cubicBezTo>
                  <a:cubicBezTo>
                    <a:pt x="1373" y="81"/>
                    <a:pt x="1371" y="82"/>
                    <a:pt x="1368" y="82"/>
                  </a:cubicBezTo>
                  <a:cubicBezTo>
                    <a:pt x="1366" y="81"/>
                    <a:pt x="1364" y="82"/>
                    <a:pt x="1363" y="82"/>
                  </a:cubicBezTo>
                  <a:cubicBezTo>
                    <a:pt x="1357" y="84"/>
                    <a:pt x="1351" y="87"/>
                    <a:pt x="1345" y="87"/>
                  </a:cubicBezTo>
                  <a:cubicBezTo>
                    <a:pt x="1342" y="91"/>
                    <a:pt x="1339" y="87"/>
                    <a:pt x="1336" y="88"/>
                  </a:cubicBezTo>
                  <a:cubicBezTo>
                    <a:pt x="1333" y="90"/>
                    <a:pt x="1330" y="90"/>
                    <a:pt x="1326" y="88"/>
                  </a:cubicBezTo>
                  <a:cubicBezTo>
                    <a:pt x="1322" y="87"/>
                    <a:pt x="1319" y="88"/>
                    <a:pt x="1316" y="91"/>
                  </a:cubicBezTo>
                  <a:cubicBezTo>
                    <a:pt x="1315" y="93"/>
                    <a:pt x="1314" y="94"/>
                    <a:pt x="1312" y="94"/>
                  </a:cubicBezTo>
                  <a:cubicBezTo>
                    <a:pt x="1310" y="95"/>
                    <a:pt x="1307" y="96"/>
                    <a:pt x="1304" y="96"/>
                  </a:cubicBezTo>
                  <a:cubicBezTo>
                    <a:pt x="1301" y="95"/>
                    <a:pt x="1299" y="98"/>
                    <a:pt x="1296" y="99"/>
                  </a:cubicBezTo>
                  <a:cubicBezTo>
                    <a:pt x="1295" y="99"/>
                    <a:pt x="1293" y="99"/>
                    <a:pt x="1292" y="99"/>
                  </a:cubicBezTo>
                  <a:cubicBezTo>
                    <a:pt x="1290" y="98"/>
                    <a:pt x="1289" y="99"/>
                    <a:pt x="1287" y="100"/>
                  </a:cubicBezTo>
                  <a:cubicBezTo>
                    <a:pt x="1286" y="101"/>
                    <a:pt x="1284" y="101"/>
                    <a:pt x="1282" y="101"/>
                  </a:cubicBezTo>
                  <a:cubicBezTo>
                    <a:pt x="1277" y="101"/>
                    <a:pt x="1274" y="102"/>
                    <a:pt x="1272" y="105"/>
                  </a:cubicBezTo>
                  <a:cubicBezTo>
                    <a:pt x="1265" y="104"/>
                    <a:pt x="1260" y="102"/>
                    <a:pt x="1255" y="102"/>
                  </a:cubicBezTo>
                  <a:cubicBezTo>
                    <a:pt x="1250" y="101"/>
                    <a:pt x="1246" y="99"/>
                    <a:pt x="1242" y="101"/>
                  </a:cubicBezTo>
                  <a:cubicBezTo>
                    <a:pt x="1241" y="101"/>
                    <a:pt x="1238" y="99"/>
                    <a:pt x="1237" y="98"/>
                  </a:cubicBezTo>
                  <a:cubicBezTo>
                    <a:pt x="1235" y="95"/>
                    <a:pt x="1231" y="94"/>
                    <a:pt x="1228" y="95"/>
                  </a:cubicBezTo>
                  <a:cubicBezTo>
                    <a:pt x="1223" y="97"/>
                    <a:pt x="1219" y="97"/>
                    <a:pt x="1214" y="95"/>
                  </a:cubicBezTo>
                  <a:cubicBezTo>
                    <a:pt x="1211" y="94"/>
                    <a:pt x="1208" y="94"/>
                    <a:pt x="1205" y="93"/>
                  </a:cubicBezTo>
                  <a:cubicBezTo>
                    <a:pt x="1204" y="93"/>
                    <a:pt x="1204" y="93"/>
                    <a:pt x="1202" y="93"/>
                  </a:cubicBezTo>
                  <a:cubicBezTo>
                    <a:pt x="1202" y="95"/>
                    <a:pt x="1202" y="97"/>
                    <a:pt x="1202" y="99"/>
                  </a:cubicBezTo>
                  <a:cubicBezTo>
                    <a:pt x="1200" y="99"/>
                    <a:pt x="1198" y="100"/>
                    <a:pt x="1196" y="100"/>
                  </a:cubicBezTo>
                  <a:cubicBezTo>
                    <a:pt x="1194" y="99"/>
                    <a:pt x="1192" y="97"/>
                    <a:pt x="1191" y="95"/>
                  </a:cubicBezTo>
                  <a:cubicBezTo>
                    <a:pt x="1188" y="97"/>
                    <a:pt x="1186" y="100"/>
                    <a:pt x="1183" y="99"/>
                  </a:cubicBezTo>
                  <a:cubicBezTo>
                    <a:pt x="1178" y="102"/>
                    <a:pt x="1172" y="102"/>
                    <a:pt x="1167" y="108"/>
                  </a:cubicBezTo>
                  <a:cubicBezTo>
                    <a:pt x="1165" y="109"/>
                    <a:pt x="1163" y="111"/>
                    <a:pt x="1160" y="110"/>
                  </a:cubicBezTo>
                  <a:cubicBezTo>
                    <a:pt x="1155" y="109"/>
                    <a:pt x="1151" y="111"/>
                    <a:pt x="1146" y="112"/>
                  </a:cubicBezTo>
                  <a:cubicBezTo>
                    <a:pt x="1142" y="114"/>
                    <a:pt x="1138" y="115"/>
                    <a:pt x="1134" y="115"/>
                  </a:cubicBezTo>
                  <a:cubicBezTo>
                    <a:pt x="1131" y="114"/>
                    <a:pt x="1127" y="114"/>
                    <a:pt x="1124" y="113"/>
                  </a:cubicBezTo>
                  <a:cubicBezTo>
                    <a:pt x="1120" y="113"/>
                    <a:pt x="1117" y="112"/>
                    <a:pt x="1114" y="114"/>
                  </a:cubicBezTo>
                  <a:cubicBezTo>
                    <a:pt x="1110" y="116"/>
                    <a:pt x="1106" y="116"/>
                    <a:pt x="1103" y="116"/>
                  </a:cubicBezTo>
                  <a:cubicBezTo>
                    <a:pt x="1099" y="115"/>
                    <a:pt x="1096" y="115"/>
                    <a:pt x="1093" y="116"/>
                  </a:cubicBezTo>
                  <a:cubicBezTo>
                    <a:pt x="1083" y="118"/>
                    <a:pt x="1073" y="116"/>
                    <a:pt x="1064" y="112"/>
                  </a:cubicBezTo>
                  <a:cubicBezTo>
                    <a:pt x="1058" y="109"/>
                    <a:pt x="1051" y="105"/>
                    <a:pt x="1045" y="101"/>
                  </a:cubicBezTo>
                  <a:cubicBezTo>
                    <a:pt x="1042" y="100"/>
                    <a:pt x="1039" y="98"/>
                    <a:pt x="1035" y="96"/>
                  </a:cubicBezTo>
                  <a:cubicBezTo>
                    <a:pt x="1032" y="95"/>
                    <a:pt x="1028" y="94"/>
                    <a:pt x="1024" y="97"/>
                  </a:cubicBezTo>
                  <a:cubicBezTo>
                    <a:pt x="1024" y="98"/>
                    <a:pt x="1023" y="98"/>
                    <a:pt x="1022" y="97"/>
                  </a:cubicBezTo>
                  <a:cubicBezTo>
                    <a:pt x="1020" y="96"/>
                    <a:pt x="1018" y="97"/>
                    <a:pt x="1016" y="99"/>
                  </a:cubicBezTo>
                  <a:cubicBezTo>
                    <a:pt x="1012" y="101"/>
                    <a:pt x="1007" y="102"/>
                    <a:pt x="1002" y="101"/>
                  </a:cubicBezTo>
                  <a:cubicBezTo>
                    <a:pt x="998" y="101"/>
                    <a:pt x="995" y="103"/>
                    <a:pt x="991" y="100"/>
                  </a:cubicBezTo>
                  <a:cubicBezTo>
                    <a:pt x="986" y="102"/>
                    <a:pt x="982" y="102"/>
                    <a:pt x="977" y="101"/>
                  </a:cubicBezTo>
                  <a:cubicBezTo>
                    <a:pt x="973" y="105"/>
                    <a:pt x="968" y="102"/>
                    <a:pt x="963" y="102"/>
                  </a:cubicBezTo>
                  <a:cubicBezTo>
                    <a:pt x="960" y="103"/>
                    <a:pt x="957" y="105"/>
                    <a:pt x="955" y="101"/>
                  </a:cubicBezTo>
                  <a:cubicBezTo>
                    <a:pt x="954" y="101"/>
                    <a:pt x="952" y="101"/>
                    <a:pt x="951" y="101"/>
                  </a:cubicBezTo>
                  <a:cubicBezTo>
                    <a:pt x="949" y="102"/>
                    <a:pt x="947" y="102"/>
                    <a:pt x="944" y="103"/>
                  </a:cubicBezTo>
                  <a:cubicBezTo>
                    <a:pt x="934" y="96"/>
                    <a:pt x="922" y="95"/>
                    <a:pt x="912" y="91"/>
                  </a:cubicBezTo>
                  <a:cubicBezTo>
                    <a:pt x="910" y="92"/>
                    <a:pt x="909" y="93"/>
                    <a:pt x="907" y="95"/>
                  </a:cubicBezTo>
                  <a:cubicBezTo>
                    <a:pt x="904" y="94"/>
                    <a:pt x="901" y="94"/>
                    <a:pt x="898" y="93"/>
                  </a:cubicBezTo>
                  <a:cubicBezTo>
                    <a:pt x="895" y="93"/>
                    <a:pt x="892" y="92"/>
                    <a:pt x="890" y="88"/>
                  </a:cubicBezTo>
                  <a:cubicBezTo>
                    <a:pt x="889" y="86"/>
                    <a:pt x="885" y="84"/>
                    <a:pt x="882" y="84"/>
                  </a:cubicBezTo>
                  <a:cubicBezTo>
                    <a:pt x="878" y="86"/>
                    <a:pt x="875" y="90"/>
                    <a:pt x="873" y="94"/>
                  </a:cubicBezTo>
                  <a:cubicBezTo>
                    <a:pt x="866" y="95"/>
                    <a:pt x="860" y="96"/>
                    <a:pt x="853" y="94"/>
                  </a:cubicBezTo>
                  <a:cubicBezTo>
                    <a:pt x="851" y="95"/>
                    <a:pt x="848" y="97"/>
                    <a:pt x="845" y="100"/>
                  </a:cubicBezTo>
                  <a:cubicBezTo>
                    <a:pt x="845" y="100"/>
                    <a:pt x="845" y="101"/>
                    <a:pt x="845" y="102"/>
                  </a:cubicBezTo>
                  <a:cubicBezTo>
                    <a:pt x="845" y="103"/>
                    <a:pt x="845" y="105"/>
                    <a:pt x="845" y="105"/>
                  </a:cubicBezTo>
                  <a:cubicBezTo>
                    <a:pt x="843" y="106"/>
                    <a:pt x="842" y="105"/>
                    <a:pt x="842" y="103"/>
                  </a:cubicBezTo>
                  <a:cubicBezTo>
                    <a:pt x="841" y="101"/>
                    <a:pt x="838" y="101"/>
                    <a:pt x="837" y="102"/>
                  </a:cubicBezTo>
                  <a:cubicBezTo>
                    <a:pt x="836" y="105"/>
                    <a:pt x="839" y="108"/>
                    <a:pt x="835" y="110"/>
                  </a:cubicBezTo>
                  <a:cubicBezTo>
                    <a:pt x="828" y="106"/>
                    <a:pt x="824" y="112"/>
                    <a:pt x="819" y="116"/>
                  </a:cubicBezTo>
                  <a:cubicBezTo>
                    <a:pt x="814" y="113"/>
                    <a:pt x="814" y="113"/>
                    <a:pt x="809" y="114"/>
                  </a:cubicBezTo>
                  <a:cubicBezTo>
                    <a:pt x="806" y="115"/>
                    <a:pt x="804" y="114"/>
                    <a:pt x="802" y="112"/>
                  </a:cubicBezTo>
                  <a:cubicBezTo>
                    <a:pt x="800" y="110"/>
                    <a:pt x="799" y="114"/>
                    <a:pt x="797" y="113"/>
                  </a:cubicBezTo>
                  <a:cubicBezTo>
                    <a:pt x="796" y="112"/>
                    <a:pt x="795" y="110"/>
                    <a:pt x="793" y="109"/>
                  </a:cubicBezTo>
                  <a:cubicBezTo>
                    <a:pt x="791" y="111"/>
                    <a:pt x="790" y="112"/>
                    <a:pt x="788" y="113"/>
                  </a:cubicBezTo>
                  <a:cubicBezTo>
                    <a:pt x="781" y="110"/>
                    <a:pt x="775" y="106"/>
                    <a:pt x="768" y="113"/>
                  </a:cubicBezTo>
                  <a:cubicBezTo>
                    <a:pt x="764" y="112"/>
                    <a:pt x="760" y="111"/>
                    <a:pt x="756" y="110"/>
                  </a:cubicBezTo>
                  <a:cubicBezTo>
                    <a:pt x="752" y="115"/>
                    <a:pt x="752" y="115"/>
                    <a:pt x="747" y="114"/>
                  </a:cubicBezTo>
                  <a:cubicBezTo>
                    <a:pt x="747" y="114"/>
                    <a:pt x="746" y="114"/>
                    <a:pt x="745" y="114"/>
                  </a:cubicBezTo>
                  <a:cubicBezTo>
                    <a:pt x="745" y="114"/>
                    <a:pt x="745" y="114"/>
                    <a:pt x="745" y="113"/>
                  </a:cubicBezTo>
                  <a:cubicBezTo>
                    <a:pt x="745" y="110"/>
                    <a:pt x="743" y="108"/>
                    <a:pt x="741" y="106"/>
                  </a:cubicBezTo>
                  <a:cubicBezTo>
                    <a:pt x="740" y="106"/>
                    <a:pt x="739" y="106"/>
                    <a:pt x="739" y="106"/>
                  </a:cubicBezTo>
                  <a:cubicBezTo>
                    <a:pt x="739" y="108"/>
                    <a:pt x="739" y="110"/>
                    <a:pt x="738" y="112"/>
                  </a:cubicBezTo>
                  <a:cubicBezTo>
                    <a:pt x="733" y="112"/>
                    <a:pt x="728" y="112"/>
                    <a:pt x="722" y="112"/>
                  </a:cubicBezTo>
                  <a:cubicBezTo>
                    <a:pt x="716" y="105"/>
                    <a:pt x="716" y="106"/>
                    <a:pt x="713" y="113"/>
                  </a:cubicBezTo>
                  <a:cubicBezTo>
                    <a:pt x="713" y="113"/>
                    <a:pt x="712" y="114"/>
                    <a:pt x="711" y="114"/>
                  </a:cubicBezTo>
                  <a:cubicBezTo>
                    <a:pt x="710" y="113"/>
                    <a:pt x="707" y="112"/>
                    <a:pt x="706" y="111"/>
                  </a:cubicBezTo>
                  <a:cubicBezTo>
                    <a:pt x="704" y="108"/>
                    <a:pt x="701" y="108"/>
                    <a:pt x="698" y="109"/>
                  </a:cubicBezTo>
                  <a:cubicBezTo>
                    <a:pt x="695" y="111"/>
                    <a:pt x="692" y="111"/>
                    <a:pt x="689" y="109"/>
                  </a:cubicBezTo>
                  <a:cubicBezTo>
                    <a:pt x="688" y="109"/>
                    <a:pt x="685" y="109"/>
                    <a:pt x="684" y="109"/>
                  </a:cubicBezTo>
                  <a:cubicBezTo>
                    <a:pt x="681" y="112"/>
                    <a:pt x="677" y="112"/>
                    <a:pt x="674" y="111"/>
                  </a:cubicBezTo>
                  <a:cubicBezTo>
                    <a:pt x="672" y="111"/>
                    <a:pt x="669" y="111"/>
                    <a:pt x="667" y="111"/>
                  </a:cubicBezTo>
                  <a:cubicBezTo>
                    <a:pt x="666" y="116"/>
                    <a:pt x="666" y="123"/>
                    <a:pt x="656" y="122"/>
                  </a:cubicBezTo>
                  <a:cubicBezTo>
                    <a:pt x="656" y="121"/>
                    <a:pt x="654" y="119"/>
                    <a:pt x="653" y="117"/>
                  </a:cubicBezTo>
                  <a:cubicBezTo>
                    <a:pt x="650" y="114"/>
                    <a:pt x="649" y="111"/>
                    <a:pt x="644" y="113"/>
                  </a:cubicBezTo>
                  <a:cubicBezTo>
                    <a:pt x="644" y="114"/>
                    <a:pt x="642" y="112"/>
                    <a:pt x="641" y="112"/>
                  </a:cubicBezTo>
                  <a:cubicBezTo>
                    <a:pt x="640" y="111"/>
                    <a:pt x="638" y="110"/>
                    <a:pt x="637" y="109"/>
                  </a:cubicBezTo>
                  <a:cubicBezTo>
                    <a:pt x="636" y="112"/>
                    <a:pt x="635" y="113"/>
                    <a:pt x="634" y="115"/>
                  </a:cubicBezTo>
                  <a:cubicBezTo>
                    <a:pt x="631" y="115"/>
                    <a:pt x="629" y="115"/>
                    <a:pt x="628" y="112"/>
                  </a:cubicBezTo>
                  <a:cubicBezTo>
                    <a:pt x="627" y="109"/>
                    <a:pt x="624" y="109"/>
                    <a:pt x="622" y="109"/>
                  </a:cubicBezTo>
                  <a:cubicBezTo>
                    <a:pt x="618" y="111"/>
                    <a:pt x="614" y="110"/>
                    <a:pt x="610" y="109"/>
                  </a:cubicBezTo>
                  <a:cubicBezTo>
                    <a:pt x="607" y="106"/>
                    <a:pt x="604" y="108"/>
                    <a:pt x="601" y="109"/>
                  </a:cubicBezTo>
                  <a:cubicBezTo>
                    <a:pt x="593" y="111"/>
                    <a:pt x="585" y="110"/>
                    <a:pt x="578" y="106"/>
                  </a:cubicBezTo>
                  <a:cubicBezTo>
                    <a:pt x="576" y="105"/>
                    <a:pt x="576" y="102"/>
                    <a:pt x="575" y="101"/>
                  </a:cubicBezTo>
                  <a:cubicBezTo>
                    <a:pt x="569" y="97"/>
                    <a:pt x="563" y="92"/>
                    <a:pt x="555" y="93"/>
                  </a:cubicBezTo>
                  <a:cubicBezTo>
                    <a:pt x="553" y="93"/>
                    <a:pt x="551" y="93"/>
                    <a:pt x="548" y="94"/>
                  </a:cubicBezTo>
                  <a:cubicBezTo>
                    <a:pt x="545" y="95"/>
                    <a:pt x="542" y="94"/>
                    <a:pt x="539" y="93"/>
                  </a:cubicBezTo>
                  <a:cubicBezTo>
                    <a:pt x="532" y="91"/>
                    <a:pt x="526" y="88"/>
                    <a:pt x="525" y="80"/>
                  </a:cubicBezTo>
                  <a:cubicBezTo>
                    <a:pt x="524" y="75"/>
                    <a:pt x="520" y="73"/>
                    <a:pt x="515" y="72"/>
                  </a:cubicBezTo>
                  <a:cubicBezTo>
                    <a:pt x="514" y="72"/>
                    <a:pt x="511" y="73"/>
                    <a:pt x="510" y="73"/>
                  </a:cubicBezTo>
                  <a:cubicBezTo>
                    <a:pt x="503" y="63"/>
                    <a:pt x="492" y="61"/>
                    <a:pt x="485" y="53"/>
                  </a:cubicBezTo>
                  <a:cubicBezTo>
                    <a:pt x="482" y="56"/>
                    <a:pt x="481" y="58"/>
                    <a:pt x="481" y="61"/>
                  </a:cubicBezTo>
                  <a:cubicBezTo>
                    <a:pt x="480" y="64"/>
                    <a:pt x="479" y="65"/>
                    <a:pt x="476" y="66"/>
                  </a:cubicBezTo>
                  <a:cubicBezTo>
                    <a:pt x="475" y="66"/>
                    <a:pt x="473" y="66"/>
                    <a:pt x="472" y="66"/>
                  </a:cubicBezTo>
                  <a:cubicBezTo>
                    <a:pt x="472" y="68"/>
                    <a:pt x="473" y="71"/>
                    <a:pt x="473" y="73"/>
                  </a:cubicBezTo>
                  <a:cubicBezTo>
                    <a:pt x="470" y="73"/>
                    <a:pt x="468" y="73"/>
                    <a:pt x="466" y="73"/>
                  </a:cubicBezTo>
                  <a:cubicBezTo>
                    <a:pt x="461" y="72"/>
                    <a:pt x="456" y="72"/>
                    <a:pt x="451" y="73"/>
                  </a:cubicBezTo>
                  <a:cubicBezTo>
                    <a:pt x="446" y="75"/>
                    <a:pt x="441" y="75"/>
                    <a:pt x="435" y="75"/>
                  </a:cubicBezTo>
                  <a:cubicBezTo>
                    <a:pt x="429" y="74"/>
                    <a:pt x="423" y="75"/>
                    <a:pt x="416" y="77"/>
                  </a:cubicBezTo>
                  <a:cubicBezTo>
                    <a:pt x="406" y="80"/>
                    <a:pt x="397" y="79"/>
                    <a:pt x="387" y="75"/>
                  </a:cubicBezTo>
                  <a:cubicBezTo>
                    <a:pt x="383" y="73"/>
                    <a:pt x="378" y="73"/>
                    <a:pt x="374" y="74"/>
                  </a:cubicBezTo>
                  <a:cubicBezTo>
                    <a:pt x="370" y="74"/>
                    <a:pt x="367" y="74"/>
                    <a:pt x="364" y="73"/>
                  </a:cubicBezTo>
                  <a:cubicBezTo>
                    <a:pt x="361" y="73"/>
                    <a:pt x="359" y="72"/>
                    <a:pt x="357" y="72"/>
                  </a:cubicBezTo>
                  <a:cubicBezTo>
                    <a:pt x="354" y="72"/>
                    <a:pt x="351" y="73"/>
                    <a:pt x="348" y="74"/>
                  </a:cubicBezTo>
                  <a:cubicBezTo>
                    <a:pt x="344" y="67"/>
                    <a:pt x="338" y="65"/>
                    <a:pt x="331" y="65"/>
                  </a:cubicBezTo>
                  <a:cubicBezTo>
                    <a:pt x="324" y="65"/>
                    <a:pt x="318" y="64"/>
                    <a:pt x="311" y="64"/>
                  </a:cubicBezTo>
                  <a:cubicBezTo>
                    <a:pt x="308" y="64"/>
                    <a:pt x="305" y="63"/>
                    <a:pt x="302" y="64"/>
                  </a:cubicBezTo>
                  <a:cubicBezTo>
                    <a:pt x="287" y="67"/>
                    <a:pt x="273" y="66"/>
                    <a:pt x="258" y="62"/>
                  </a:cubicBezTo>
                  <a:cubicBezTo>
                    <a:pt x="252" y="60"/>
                    <a:pt x="245" y="57"/>
                    <a:pt x="239" y="62"/>
                  </a:cubicBezTo>
                  <a:cubicBezTo>
                    <a:pt x="238" y="63"/>
                    <a:pt x="237" y="62"/>
                    <a:pt x="236" y="62"/>
                  </a:cubicBezTo>
                  <a:cubicBezTo>
                    <a:pt x="235" y="62"/>
                    <a:pt x="234" y="62"/>
                    <a:pt x="233" y="63"/>
                  </a:cubicBezTo>
                  <a:cubicBezTo>
                    <a:pt x="232" y="64"/>
                    <a:pt x="230" y="65"/>
                    <a:pt x="228" y="64"/>
                  </a:cubicBezTo>
                  <a:cubicBezTo>
                    <a:pt x="226" y="63"/>
                    <a:pt x="224" y="62"/>
                    <a:pt x="222" y="62"/>
                  </a:cubicBezTo>
                  <a:cubicBezTo>
                    <a:pt x="220" y="61"/>
                    <a:pt x="218" y="61"/>
                    <a:pt x="217" y="61"/>
                  </a:cubicBezTo>
                  <a:cubicBezTo>
                    <a:pt x="216" y="66"/>
                    <a:pt x="215" y="71"/>
                    <a:pt x="213" y="75"/>
                  </a:cubicBezTo>
                  <a:cubicBezTo>
                    <a:pt x="210" y="76"/>
                    <a:pt x="208" y="75"/>
                    <a:pt x="206" y="76"/>
                  </a:cubicBezTo>
                  <a:cubicBezTo>
                    <a:pt x="203" y="77"/>
                    <a:pt x="200" y="73"/>
                    <a:pt x="197" y="74"/>
                  </a:cubicBezTo>
                  <a:cubicBezTo>
                    <a:pt x="196" y="75"/>
                    <a:pt x="194" y="78"/>
                    <a:pt x="192" y="78"/>
                  </a:cubicBezTo>
                  <a:cubicBezTo>
                    <a:pt x="189" y="78"/>
                    <a:pt x="187" y="82"/>
                    <a:pt x="184" y="83"/>
                  </a:cubicBezTo>
                  <a:cubicBezTo>
                    <a:pt x="183" y="81"/>
                    <a:pt x="181" y="80"/>
                    <a:pt x="180" y="77"/>
                  </a:cubicBezTo>
                  <a:cubicBezTo>
                    <a:pt x="176" y="78"/>
                    <a:pt x="172" y="77"/>
                    <a:pt x="167" y="77"/>
                  </a:cubicBezTo>
                  <a:cubicBezTo>
                    <a:pt x="163" y="76"/>
                    <a:pt x="159" y="77"/>
                    <a:pt x="155" y="76"/>
                  </a:cubicBezTo>
                  <a:cubicBezTo>
                    <a:pt x="151" y="76"/>
                    <a:pt x="147" y="75"/>
                    <a:pt x="143" y="75"/>
                  </a:cubicBezTo>
                  <a:cubicBezTo>
                    <a:pt x="141" y="75"/>
                    <a:pt x="139" y="76"/>
                    <a:pt x="136" y="76"/>
                  </a:cubicBezTo>
                  <a:cubicBezTo>
                    <a:pt x="135" y="76"/>
                    <a:pt x="134" y="77"/>
                    <a:pt x="133" y="77"/>
                  </a:cubicBezTo>
                  <a:cubicBezTo>
                    <a:pt x="131" y="76"/>
                    <a:pt x="128" y="75"/>
                    <a:pt x="125" y="74"/>
                  </a:cubicBezTo>
                  <a:cubicBezTo>
                    <a:pt x="123" y="74"/>
                    <a:pt x="121" y="78"/>
                    <a:pt x="118" y="77"/>
                  </a:cubicBezTo>
                  <a:cubicBezTo>
                    <a:pt x="115" y="76"/>
                    <a:pt x="112" y="77"/>
                    <a:pt x="110" y="77"/>
                  </a:cubicBezTo>
                  <a:cubicBezTo>
                    <a:pt x="107" y="78"/>
                    <a:pt x="104" y="78"/>
                    <a:pt x="102" y="77"/>
                  </a:cubicBezTo>
                  <a:cubicBezTo>
                    <a:pt x="98" y="75"/>
                    <a:pt x="98" y="75"/>
                    <a:pt x="95" y="79"/>
                  </a:cubicBezTo>
                  <a:cubicBezTo>
                    <a:pt x="93" y="81"/>
                    <a:pt x="91" y="82"/>
                    <a:pt x="89" y="83"/>
                  </a:cubicBezTo>
                  <a:cubicBezTo>
                    <a:pt x="83" y="86"/>
                    <a:pt x="77" y="89"/>
                    <a:pt x="70" y="85"/>
                  </a:cubicBezTo>
                  <a:cubicBezTo>
                    <a:pt x="65" y="85"/>
                    <a:pt x="59" y="82"/>
                    <a:pt x="53" y="86"/>
                  </a:cubicBezTo>
                  <a:cubicBezTo>
                    <a:pt x="51" y="88"/>
                    <a:pt x="47" y="89"/>
                    <a:pt x="44" y="88"/>
                  </a:cubicBezTo>
                  <a:cubicBezTo>
                    <a:pt x="40" y="87"/>
                    <a:pt x="37" y="86"/>
                    <a:pt x="33" y="89"/>
                  </a:cubicBezTo>
                  <a:cubicBezTo>
                    <a:pt x="31" y="91"/>
                    <a:pt x="27" y="88"/>
                    <a:pt x="25" y="91"/>
                  </a:cubicBezTo>
                  <a:cubicBezTo>
                    <a:pt x="22" y="94"/>
                    <a:pt x="20" y="90"/>
                    <a:pt x="17" y="90"/>
                  </a:cubicBezTo>
                  <a:cubicBezTo>
                    <a:pt x="16" y="90"/>
                    <a:pt x="15" y="90"/>
                    <a:pt x="13" y="91"/>
                  </a:cubicBezTo>
                  <a:cubicBezTo>
                    <a:pt x="10" y="92"/>
                    <a:pt x="7" y="92"/>
                    <a:pt x="4" y="90"/>
                  </a:cubicBezTo>
                  <a:cubicBezTo>
                    <a:pt x="2" y="88"/>
                    <a:pt x="2" y="88"/>
                    <a:pt x="0" y="87"/>
                  </a:cubicBezTo>
                  <a:cubicBezTo>
                    <a:pt x="0" y="73"/>
                    <a:pt x="0" y="54"/>
                    <a:pt x="0" y="3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0000" tIns="46800" rIns="90000" bIns="4680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-1" y="0"/>
            <a:ext cx="12192000" cy="6857998"/>
          </a:xfrm>
          <a:custGeom>
            <a:avLst/>
            <a:gdLst>
              <a:gd name="connsiteX0" fmla="*/ 1278689 w 9144000"/>
              <a:gd name="connsiteY0" fmla="*/ 6003571 h 6857998"/>
              <a:gd name="connsiteX1" fmla="*/ 1288411 w 9144000"/>
              <a:gd name="connsiteY1" fmla="*/ 6005094 h 6857998"/>
              <a:gd name="connsiteX2" fmla="*/ 1325610 w 9144000"/>
              <a:gd name="connsiteY2" fmla="*/ 6050788 h 6857998"/>
              <a:gd name="connsiteX3" fmla="*/ 1393243 w 9144000"/>
              <a:gd name="connsiteY3" fmla="*/ 6047742 h 6857998"/>
              <a:gd name="connsiteX4" fmla="*/ 1423678 w 9144000"/>
              <a:gd name="connsiteY4" fmla="*/ 6056881 h 6857998"/>
              <a:gd name="connsiteX5" fmla="*/ 1450731 w 9144000"/>
              <a:gd name="connsiteY5" fmla="*/ 6078205 h 6857998"/>
              <a:gd name="connsiteX6" fmla="*/ 1464258 w 9144000"/>
              <a:gd name="connsiteY6" fmla="*/ 6084297 h 6857998"/>
              <a:gd name="connsiteX7" fmla="*/ 1518364 w 9144000"/>
              <a:gd name="connsiteY7" fmla="*/ 6090390 h 6857998"/>
              <a:gd name="connsiteX8" fmla="*/ 1535272 w 9144000"/>
              <a:gd name="connsiteY8" fmla="*/ 6090390 h 6857998"/>
              <a:gd name="connsiteX9" fmla="*/ 1545417 w 9144000"/>
              <a:gd name="connsiteY9" fmla="*/ 6102575 h 6857998"/>
              <a:gd name="connsiteX10" fmla="*/ 1585997 w 9144000"/>
              <a:gd name="connsiteY10" fmla="*/ 6136084 h 6857998"/>
              <a:gd name="connsiteX11" fmla="*/ 1599524 w 9144000"/>
              <a:gd name="connsiteY11" fmla="*/ 6142177 h 6857998"/>
              <a:gd name="connsiteX12" fmla="*/ 1629959 w 9144000"/>
              <a:gd name="connsiteY12" fmla="*/ 6163501 h 6857998"/>
              <a:gd name="connsiteX13" fmla="*/ 1653630 w 9144000"/>
              <a:gd name="connsiteY13" fmla="*/ 6169593 h 6857998"/>
              <a:gd name="connsiteX14" fmla="*/ 1670539 w 9144000"/>
              <a:gd name="connsiteY14" fmla="*/ 6193963 h 6857998"/>
              <a:gd name="connsiteX15" fmla="*/ 1744935 w 9144000"/>
              <a:gd name="connsiteY15" fmla="*/ 6215287 h 6857998"/>
              <a:gd name="connsiteX16" fmla="*/ 1758462 w 9144000"/>
              <a:gd name="connsiteY16" fmla="*/ 6221380 h 6857998"/>
              <a:gd name="connsiteX17" fmla="*/ 1815950 w 9144000"/>
              <a:gd name="connsiteY17" fmla="*/ 6233565 h 6857998"/>
              <a:gd name="connsiteX18" fmla="*/ 1832858 w 9144000"/>
              <a:gd name="connsiteY18" fmla="*/ 6224426 h 6857998"/>
              <a:gd name="connsiteX19" fmla="*/ 1843003 w 9144000"/>
              <a:gd name="connsiteY19" fmla="*/ 6230519 h 6857998"/>
              <a:gd name="connsiteX20" fmla="*/ 1903873 w 9144000"/>
              <a:gd name="connsiteY20" fmla="*/ 6254889 h 6857998"/>
              <a:gd name="connsiteX21" fmla="*/ 1917400 w 9144000"/>
              <a:gd name="connsiteY21" fmla="*/ 6254889 h 6857998"/>
              <a:gd name="connsiteX22" fmla="*/ 1974888 w 9144000"/>
              <a:gd name="connsiteY22" fmla="*/ 6254889 h 6857998"/>
              <a:gd name="connsiteX23" fmla="*/ 2012086 w 9144000"/>
              <a:gd name="connsiteY23" fmla="*/ 6254889 h 6857998"/>
              <a:gd name="connsiteX24" fmla="*/ 2066192 w 9144000"/>
              <a:gd name="connsiteY24" fmla="*/ 6248797 h 6857998"/>
              <a:gd name="connsiteX25" fmla="*/ 2137207 w 9144000"/>
              <a:gd name="connsiteY25" fmla="*/ 6239658 h 6857998"/>
              <a:gd name="connsiteX26" fmla="*/ 2218367 w 9144000"/>
              <a:gd name="connsiteY26" fmla="*/ 6242704 h 6857998"/>
              <a:gd name="connsiteX27" fmla="*/ 2231895 w 9144000"/>
              <a:gd name="connsiteY27" fmla="*/ 6245750 h 6857998"/>
              <a:gd name="connsiteX28" fmla="*/ 2282619 w 9144000"/>
              <a:gd name="connsiteY28" fmla="*/ 6251843 h 6857998"/>
              <a:gd name="connsiteX29" fmla="*/ 2336725 w 9144000"/>
              <a:gd name="connsiteY29" fmla="*/ 6257935 h 6857998"/>
              <a:gd name="connsiteX30" fmla="*/ 2346871 w 9144000"/>
              <a:gd name="connsiteY30" fmla="*/ 6254889 h 6857998"/>
              <a:gd name="connsiteX31" fmla="*/ 2360397 w 9144000"/>
              <a:gd name="connsiteY31" fmla="*/ 6251843 h 6857998"/>
              <a:gd name="connsiteX32" fmla="*/ 2367160 w 9144000"/>
              <a:gd name="connsiteY32" fmla="*/ 6254889 h 6857998"/>
              <a:gd name="connsiteX33" fmla="*/ 2417885 w 9144000"/>
              <a:gd name="connsiteY33" fmla="*/ 6276213 h 6857998"/>
              <a:gd name="connsiteX34" fmla="*/ 2536244 w 9144000"/>
              <a:gd name="connsiteY34" fmla="*/ 6282306 h 6857998"/>
              <a:gd name="connsiteX35" fmla="*/ 2539624 w 9144000"/>
              <a:gd name="connsiteY35" fmla="*/ 6279259 h 6857998"/>
              <a:gd name="connsiteX36" fmla="*/ 2647838 w 9144000"/>
              <a:gd name="connsiteY36" fmla="*/ 6282306 h 6857998"/>
              <a:gd name="connsiteX37" fmla="*/ 2695181 w 9144000"/>
              <a:gd name="connsiteY37" fmla="*/ 6294491 h 6857998"/>
              <a:gd name="connsiteX38" fmla="*/ 2708707 w 9144000"/>
              <a:gd name="connsiteY38" fmla="*/ 6294491 h 6857998"/>
              <a:gd name="connsiteX39" fmla="*/ 2752669 w 9144000"/>
              <a:gd name="connsiteY39" fmla="*/ 6288398 h 6857998"/>
              <a:gd name="connsiteX40" fmla="*/ 2796631 w 9144000"/>
              <a:gd name="connsiteY40" fmla="*/ 6288398 h 6857998"/>
              <a:gd name="connsiteX41" fmla="*/ 2810157 w 9144000"/>
              <a:gd name="connsiteY41" fmla="*/ 6291444 h 6857998"/>
              <a:gd name="connsiteX42" fmla="*/ 2820302 w 9144000"/>
              <a:gd name="connsiteY42" fmla="*/ 6248797 h 6857998"/>
              <a:gd name="connsiteX43" fmla="*/ 2833830 w 9144000"/>
              <a:gd name="connsiteY43" fmla="*/ 6245750 h 6857998"/>
              <a:gd name="connsiteX44" fmla="*/ 2877790 w 9144000"/>
              <a:gd name="connsiteY44" fmla="*/ 6251843 h 6857998"/>
              <a:gd name="connsiteX45" fmla="*/ 2891318 w 9144000"/>
              <a:gd name="connsiteY45" fmla="*/ 6236611 h 6857998"/>
              <a:gd name="connsiteX46" fmla="*/ 2921753 w 9144000"/>
              <a:gd name="connsiteY46" fmla="*/ 6224426 h 6857998"/>
              <a:gd name="connsiteX47" fmla="*/ 2935278 w 9144000"/>
              <a:gd name="connsiteY47" fmla="*/ 6242704 h 6857998"/>
              <a:gd name="connsiteX48" fmla="*/ 2952188 w 9144000"/>
              <a:gd name="connsiteY48" fmla="*/ 6239658 h 6857998"/>
              <a:gd name="connsiteX49" fmla="*/ 2986003 w 9144000"/>
              <a:gd name="connsiteY49" fmla="*/ 6245750 h 6857998"/>
              <a:gd name="connsiteX50" fmla="*/ 3019820 w 9144000"/>
              <a:gd name="connsiteY50" fmla="*/ 6242704 h 6857998"/>
              <a:gd name="connsiteX51" fmla="*/ 3080689 w 9144000"/>
              <a:gd name="connsiteY51" fmla="*/ 6245750 h 6857998"/>
              <a:gd name="connsiteX52" fmla="*/ 3104361 w 9144000"/>
              <a:gd name="connsiteY52" fmla="*/ 6245750 h 6857998"/>
              <a:gd name="connsiteX53" fmla="*/ 3128034 w 9144000"/>
              <a:gd name="connsiteY53" fmla="*/ 6245750 h 6857998"/>
              <a:gd name="connsiteX54" fmla="*/ 3144941 w 9144000"/>
              <a:gd name="connsiteY54" fmla="*/ 6242704 h 6857998"/>
              <a:gd name="connsiteX55" fmla="*/ 3171994 w 9144000"/>
              <a:gd name="connsiteY55" fmla="*/ 6242704 h 6857998"/>
              <a:gd name="connsiteX56" fmla="*/ 3202429 w 9144000"/>
              <a:gd name="connsiteY56" fmla="*/ 6242704 h 6857998"/>
              <a:gd name="connsiteX57" fmla="*/ 3229482 w 9144000"/>
              <a:gd name="connsiteY57" fmla="*/ 6236611 h 6857998"/>
              <a:gd name="connsiteX58" fmla="*/ 3297116 w 9144000"/>
              <a:gd name="connsiteY58" fmla="*/ 6215287 h 6857998"/>
              <a:gd name="connsiteX59" fmla="*/ 3364749 w 9144000"/>
              <a:gd name="connsiteY59" fmla="*/ 6212241 h 6857998"/>
              <a:gd name="connsiteX60" fmla="*/ 3401948 w 9144000"/>
              <a:gd name="connsiteY60" fmla="*/ 6209195 h 6857998"/>
              <a:gd name="connsiteX61" fmla="*/ 3418856 w 9144000"/>
              <a:gd name="connsiteY61" fmla="*/ 6209195 h 6857998"/>
              <a:gd name="connsiteX62" fmla="*/ 3452672 w 9144000"/>
              <a:gd name="connsiteY62" fmla="*/ 6203102 h 6857998"/>
              <a:gd name="connsiteX63" fmla="*/ 3486489 w 9144000"/>
              <a:gd name="connsiteY63" fmla="*/ 6200056 h 6857998"/>
              <a:gd name="connsiteX64" fmla="*/ 3500015 w 9144000"/>
              <a:gd name="connsiteY64" fmla="*/ 6197010 h 6857998"/>
              <a:gd name="connsiteX65" fmla="*/ 3527068 w 9144000"/>
              <a:gd name="connsiteY65" fmla="*/ 6200056 h 6857998"/>
              <a:gd name="connsiteX66" fmla="*/ 3540595 w 9144000"/>
              <a:gd name="connsiteY66" fmla="*/ 6206149 h 6857998"/>
              <a:gd name="connsiteX67" fmla="*/ 3611611 w 9144000"/>
              <a:gd name="connsiteY67" fmla="*/ 6193963 h 6857998"/>
              <a:gd name="connsiteX68" fmla="*/ 3638664 w 9144000"/>
              <a:gd name="connsiteY68" fmla="*/ 6193963 h 6857998"/>
              <a:gd name="connsiteX69" fmla="*/ 3706296 w 9144000"/>
              <a:gd name="connsiteY69" fmla="*/ 6203102 h 6857998"/>
              <a:gd name="connsiteX70" fmla="*/ 3736732 w 9144000"/>
              <a:gd name="connsiteY70" fmla="*/ 6184825 h 6857998"/>
              <a:gd name="connsiteX71" fmla="*/ 3780693 w 9144000"/>
              <a:gd name="connsiteY71" fmla="*/ 6187871 h 6857998"/>
              <a:gd name="connsiteX72" fmla="*/ 3831417 w 9144000"/>
              <a:gd name="connsiteY72" fmla="*/ 6203102 h 6857998"/>
              <a:gd name="connsiteX73" fmla="*/ 3861852 w 9144000"/>
              <a:gd name="connsiteY73" fmla="*/ 6200056 h 6857998"/>
              <a:gd name="connsiteX74" fmla="*/ 3871998 w 9144000"/>
              <a:gd name="connsiteY74" fmla="*/ 6200056 h 6857998"/>
              <a:gd name="connsiteX75" fmla="*/ 3902433 w 9144000"/>
              <a:gd name="connsiteY75" fmla="*/ 6221380 h 6857998"/>
              <a:gd name="connsiteX76" fmla="*/ 3905814 w 9144000"/>
              <a:gd name="connsiteY76" fmla="*/ 6197010 h 6857998"/>
              <a:gd name="connsiteX77" fmla="*/ 3932867 w 9144000"/>
              <a:gd name="connsiteY77" fmla="*/ 6190917 h 6857998"/>
              <a:gd name="connsiteX78" fmla="*/ 3976830 w 9144000"/>
              <a:gd name="connsiteY78" fmla="*/ 6193963 h 6857998"/>
              <a:gd name="connsiteX79" fmla="*/ 4017409 w 9144000"/>
              <a:gd name="connsiteY79" fmla="*/ 6190917 h 6857998"/>
              <a:gd name="connsiteX80" fmla="*/ 4024172 w 9144000"/>
              <a:gd name="connsiteY80" fmla="*/ 6190917 h 6857998"/>
              <a:gd name="connsiteX81" fmla="*/ 4051225 w 9144000"/>
              <a:gd name="connsiteY81" fmla="*/ 6197010 h 6857998"/>
              <a:gd name="connsiteX82" fmla="*/ 4085042 w 9144000"/>
              <a:gd name="connsiteY82" fmla="*/ 6203102 h 6857998"/>
              <a:gd name="connsiteX83" fmla="*/ 4152676 w 9144000"/>
              <a:gd name="connsiteY83" fmla="*/ 6209195 h 6857998"/>
              <a:gd name="connsiteX84" fmla="*/ 4193256 w 9144000"/>
              <a:gd name="connsiteY84" fmla="*/ 6203102 h 6857998"/>
              <a:gd name="connsiteX85" fmla="*/ 4216926 w 9144000"/>
              <a:gd name="connsiteY85" fmla="*/ 6200056 h 6857998"/>
              <a:gd name="connsiteX86" fmla="*/ 4240598 w 9144000"/>
              <a:gd name="connsiteY86" fmla="*/ 6200056 h 6857998"/>
              <a:gd name="connsiteX87" fmla="*/ 4304849 w 9144000"/>
              <a:gd name="connsiteY87" fmla="*/ 6206149 h 6857998"/>
              <a:gd name="connsiteX88" fmla="*/ 4338666 w 9144000"/>
              <a:gd name="connsiteY88" fmla="*/ 6206149 h 6857998"/>
              <a:gd name="connsiteX89" fmla="*/ 4402917 w 9144000"/>
              <a:gd name="connsiteY89" fmla="*/ 6212241 h 6857998"/>
              <a:gd name="connsiteX90" fmla="*/ 4487459 w 9144000"/>
              <a:gd name="connsiteY90" fmla="*/ 6206149 h 6857998"/>
              <a:gd name="connsiteX91" fmla="*/ 4517894 w 9144000"/>
              <a:gd name="connsiteY91" fmla="*/ 6200056 h 6857998"/>
              <a:gd name="connsiteX92" fmla="*/ 4534802 w 9144000"/>
              <a:gd name="connsiteY92" fmla="*/ 6200056 h 6857998"/>
              <a:gd name="connsiteX93" fmla="*/ 4592290 w 9144000"/>
              <a:gd name="connsiteY93" fmla="*/ 6184825 h 6857998"/>
              <a:gd name="connsiteX94" fmla="*/ 4622725 w 9144000"/>
              <a:gd name="connsiteY94" fmla="*/ 6178732 h 6857998"/>
              <a:gd name="connsiteX95" fmla="*/ 4656542 w 9144000"/>
              <a:gd name="connsiteY95" fmla="*/ 6178732 h 6857998"/>
              <a:gd name="connsiteX96" fmla="*/ 4693740 w 9144000"/>
              <a:gd name="connsiteY96" fmla="*/ 6172639 h 6857998"/>
              <a:gd name="connsiteX97" fmla="*/ 4703885 w 9144000"/>
              <a:gd name="connsiteY97" fmla="*/ 6163501 h 6857998"/>
              <a:gd name="connsiteX98" fmla="*/ 4730938 w 9144000"/>
              <a:gd name="connsiteY98" fmla="*/ 6157408 h 6857998"/>
              <a:gd name="connsiteX99" fmla="*/ 4757991 w 9144000"/>
              <a:gd name="connsiteY99" fmla="*/ 6148269 h 6857998"/>
              <a:gd name="connsiteX100" fmla="*/ 4774900 w 9144000"/>
              <a:gd name="connsiteY100" fmla="*/ 6148269 h 6857998"/>
              <a:gd name="connsiteX101" fmla="*/ 4788426 w 9144000"/>
              <a:gd name="connsiteY101" fmla="*/ 6145223 h 6857998"/>
              <a:gd name="connsiteX102" fmla="*/ 4808716 w 9144000"/>
              <a:gd name="connsiteY102" fmla="*/ 6142177 h 6857998"/>
              <a:gd name="connsiteX103" fmla="*/ 4842533 w 9144000"/>
              <a:gd name="connsiteY103" fmla="*/ 6129991 h 6857998"/>
              <a:gd name="connsiteX104" fmla="*/ 4900021 w 9144000"/>
              <a:gd name="connsiteY104" fmla="*/ 6139130 h 6857998"/>
              <a:gd name="connsiteX105" fmla="*/ 4943982 w 9144000"/>
              <a:gd name="connsiteY105" fmla="*/ 6142177 h 6857998"/>
              <a:gd name="connsiteX106" fmla="*/ 4957509 w 9144000"/>
              <a:gd name="connsiteY106" fmla="*/ 6151315 h 6857998"/>
              <a:gd name="connsiteX107" fmla="*/ 4991326 w 9144000"/>
              <a:gd name="connsiteY107" fmla="*/ 6160454 h 6857998"/>
              <a:gd name="connsiteX108" fmla="*/ 5038669 w 9144000"/>
              <a:gd name="connsiteY108" fmla="*/ 6160454 h 6857998"/>
              <a:gd name="connsiteX109" fmla="*/ 5069104 w 9144000"/>
              <a:gd name="connsiteY109" fmla="*/ 6166547 h 6857998"/>
              <a:gd name="connsiteX110" fmla="*/ 5079249 w 9144000"/>
              <a:gd name="connsiteY110" fmla="*/ 6166547 h 6857998"/>
              <a:gd name="connsiteX111" fmla="*/ 5079249 w 9144000"/>
              <a:gd name="connsiteY111" fmla="*/ 6148269 h 6857998"/>
              <a:gd name="connsiteX112" fmla="*/ 5099539 w 9144000"/>
              <a:gd name="connsiteY112" fmla="*/ 6145223 h 6857998"/>
              <a:gd name="connsiteX113" fmla="*/ 5116447 w 9144000"/>
              <a:gd name="connsiteY113" fmla="*/ 6160454 h 6857998"/>
              <a:gd name="connsiteX114" fmla="*/ 5143500 w 9144000"/>
              <a:gd name="connsiteY114" fmla="*/ 6148269 h 6857998"/>
              <a:gd name="connsiteX115" fmla="*/ 5197607 w 9144000"/>
              <a:gd name="connsiteY115" fmla="*/ 6120853 h 6857998"/>
              <a:gd name="connsiteX116" fmla="*/ 5221278 w 9144000"/>
              <a:gd name="connsiteY116" fmla="*/ 6114760 h 6857998"/>
              <a:gd name="connsiteX117" fmla="*/ 5265240 w 9144000"/>
              <a:gd name="connsiteY117" fmla="*/ 6108667 h 6857998"/>
              <a:gd name="connsiteX118" fmla="*/ 5309201 w 9144000"/>
              <a:gd name="connsiteY118" fmla="*/ 6099529 h 6857998"/>
              <a:gd name="connsiteX119" fmla="*/ 5339636 w 9144000"/>
              <a:gd name="connsiteY119" fmla="*/ 6105621 h 6857998"/>
              <a:gd name="connsiteX120" fmla="*/ 5376835 w 9144000"/>
              <a:gd name="connsiteY120" fmla="*/ 6102575 h 6857998"/>
              <a:gd name="connsiteX121" fmla="*/ 5414033 w 9144000"/>
              <a:gd name="connsiteY121" fmla="*/ 6096482 h 6857998"/>
              <a:gd name="connsiteX122" fmla="*/ 5447849 w 9144000"/>
              <a:gd name="connsiteY122" fmla="*/ 6096482 h 6857998"/>
              <a:gd name="connsiteX123" fmla="*/ 5542536 w 9144000"/>
              <a:gd name="connsiteY123" fmla="*/ 6108667 h 6857998"/>
              <a:gd name="connsiteX124" fmla="*/ 5610169 w 9144000"/>
              <a:gd name="connsiteY124" fmla="*/ 6142177 h 6857998"/>
              <a:gd name="connsiteX125" fmla="*/ 5640604 w 9144000"/>
              <a:gd name="connsiteY125" fmla="*/ 6157408 h 6857998"/>
              <a:gd name="connsiteX126" fmla="*/ 5677802 w 9144000"/>
              <a:gd name="connsiteY126" fmla="*/ 6154362 h 6857998"/>
              <a:gd name="connsiteX127" fmla="*/ 5684565 w 9144000"/>
              <a:gd name="connsiteY127" fmla="*/ 6154362 h 6857998"/>
              <a:gd name="connsiteX128" fmla="*/ 5708237 w 9144000"/>
              <a:gd name="connsiteY128" fmla="*/ 6148269 h 6857998"/>
              <a:gd name="connsiteX129" fmla="*/ 5752198 w 9144000"/>
              <a:gd name="connsiteY129" fmla="*/ 6142177 h 6857998"/>
              <a:gd name="connsiteX130" fmla="*/ 5792778 w 9144000"/>
              <a:gd name="connsiteY130" fmla="*/ 6145223 h 6857998"/>
              <a:gd name="connsiteX131" fmla="*/ 5840122 w 9144000"/>
              <a:gd name="connsiteY131" fmla="*/ 6142177 h 6857998"/>
              <a:gd name="connsiteX132" fmla="*/ 5887465 w 9144000"/>
              <a:gd name="connsiteY132" fmla="*/ 6139130 h 6857998"/>
              <a:gd name="connsiteX133" fmla="*/ 5914518 w 9144000"/>
              <a:gd name="connsiteY133" fmla="*/ 6142177 h 6857998"/>
              <a:gd name="connsiteX134" fmla="*/ 5928045 w 9144000"/>
              <a:gd name="connsiteY134" fmla="*/ 6142177 h 6857998"/>
              <a:gd name="connsiteX135" fmla="*/ 5951716 w 9144000"/>
              <a:gd name="connsiteY135" fmla="*/ 6136084 h 6857998"/>
              <a:gd name="connsiteX136" fmla="*/ 6059929 w 9144000"/>
              <a:gd name="connsiteY136" fmla="*/ 6172639 h 6857998"/>
              <a:gd name="connsiteX137" fmla="*/ 6076838 w 9144000"/>
              <a:gd name="connsiteY137" fmla="*/ 6160454 h 6857998"/>
              <a:gd name="connsiteX138" fmla="*/ 6107272 w 9144000"/>
              <a:gd name="connsiteY138" fmla="*/ 6166547 h 6857998"/>
              <a:gd name="connsiteX139" fmla="*/ 6130944 w 9144000"/>
              <a:gd name="connsiteY139" fmla="*/ 6178732 h 6857998"/>
              <a:gd name="connsiteX140" fmla="*/ 6157997 w 9144000"/>
              <a:gd name="connsiteY140" fmla="*/ 6193963 h 6857998"/>
              <a:gd name="connsiteX141" fmla="*/ 6191814 w 9144000"/>
              <a:gd name="connsiteY141" fmla="*/ 6163501 h 6857998"/>
              <a:gd name="connsiteX142" fmla="*/ 6256065 w 9144000"/>
              <a:gd name="connsiteY142" fmla="*/ 6163501 h 6857998"/>
              <a:gd name="connsiteX143" fmla="*/ 6283119 w 9144000"/>
              <a:gd name="connsiteY143" fmla="*/ 6145223 h 6857998"/>
              <a:gd name="connsiteX144" fmla="*/ 6283119 w 9144000"/>
              <a:gd name="connsiteY144" fmla="*/ 6139130 h 6857998"/>
              <a:gd name="connsiteX145" fmla="*/ 6286500 w 9144000"/>
              <a:gd name="connsiteY145" fmla="*/ 6129991 h 6857998"/>
              <a:gd name="connsiteX146" fmla="*/ 6296645 w 9144000"/>
              <a:gd name="connsiteY146" fmla="*/ 6136084 h 6857998"/>
              <a:gd name="connsiteX147" fmla="*/ 6313554 w 9144000"/>
              <a:gd name="connsiteY147" fmla="*/ 6139130 h 6857998"/>
              <a:gd name="connsiteX148" fmla="*/ 6316935 w 9144000"/>
              <a:gd name="connsiteY148" fmla="*/ 6114760 h 6857998"/>
              <a:gd name="connsiteX149" fmla="*/ 6371042 w 9144000"/>
              <a:gd name="connsiteY149" fmla="*/ 6096482 h 6857998"/>
              <a:gd name="connsiteX150" fmla="*/ 6408240 w 9144000"/>
              <a:gd name="connsiteY150" fmla="*/ 6102575 h 6857998"/>
              <a:gd name="connsiteX151" fmla="*/ 6431911 w 9144000"/>
              <a:gd name="connsiteY151" fmla="*/ 6108667 h 6857998"/>
              <a:gd name="connsiteX152" fmla="*/ 6445438 w 9144000"/>
              <a:gd name="connsiteY152" fmla="*/ 6105621 h 6857998"/>
              <a:gd name="connsiteX153" fmla="*/ 6462346 w 9144000"/>
              <a:gd name="connsiteY153" fmla="*/ 6117806 h 6857998"/>
              <a:gd name="connsiteX154" fmla="*/ 6475873 w 9144000"/>
              <a:gd name="connsiteY154" fmla="*/ 6105621 h 6857998"/>
              <a:gd name="connsiteX155" fmla="*/ 6546888 w 9144000"/>
              <a:gd name="connsiteY155" fmla="*/ 6105621 h 6857998"/>
              <a:gd name="connsiteX156" fmla="*/ 6587468 w 9144000"/>
              <a:gd name="connsiteY156" fmla="*/ 6114760 h 6857998"/>
              <a:gd name="connsiteX157" fmla="*/ 6617903 w 9144000"/>
              <a:gd name="connsiteY157" fmla="*/ 6102575 h 6857998"/>
              <a:gd name="connsiteX158" fmla="*/ 6621284 w 9144000"/>
              <a:gd name="connsiteY158" fmla="*/ 6102575 h 6857998"/>
              <a:gd name="connsiteX159" fmla="*/ 6624666 w 9144000"/>
              <a:gd name="connsiteY159" fmla="*/ 6105621 h 6857998"/>
              <a:gd name="connsiteX160" fmla="*/ 6638193 w 9144000"/>
              <a:gd name="connsiteY160" fmla="*/ 6126945 h 6857998"/>
              <a:gd name="connsiteX161" fmla="*/ 6644956 w 9144000"/>
              <a:gd name="connsiteY161" fmla="*/ 6126945 h 6857998"/>
              <a:gd name="connsiteX162" fmla="*/ 6648338 w 9144000"/>
              <a:gd name="connsiteY162" fmla="*/ 6108667 h 6857998"/>
              <a:gd name="connsiteX163" fmla="*/ 6699062 w 9144000"/>
              <a:gd name="connsiteY163" fmla="*/ 6108667 h 6857998"/>
              <a:gd name="connsiteX164" fmla="*/ 6729497 w 9144000"/>
              <a:gd name="connsiteY164" fmla="*/ 6105621 h 6857998"/>
              <a:gd name="connsiteX165" fmla="*/ 6736261 w 9144000"/>
              <a:gd name="connsiteY165" fmla="*/ 6102575 h 6857998"/>
              <a:gd name="connsiteX166" fmla="*/ 6756551 w 9144000"/>
              <a:gd name="connsiteY166" fmla="*/ 6111714 h 6857998"/>
              <a:gd name="connsiteX167" fmla="*/ 6783604 w 9144000"/>
              <a:gd name="connsiteY167" fmla="*/ 6117806 h 6857998"/>
              <a:gd name="connsiteX168" fmla="*/ 6810657 w 9144000"/>
              <a:gd name="connsiteY168" fmla="*/ 6117806 h 6857998"/>
              <a:gd name="connsiteX169" fmla="*/ 6830947 w 9144000"/>
              <a:gd name="connsiteY169" fmla="*/ 6117806 h 6857998"/>
              <a:gd name="connsiteX170" fmla="*/ 6861382 w 9144000"/>
              <a:gd name="connsiteY170" fmla="*/ 6111714 h 6857998"/>
              <a:gd name="connsiteX171" fmla="*/ 6885054 w 9144000"/>
              <a:gd name="connsiteY171" fmla="*/ 6111714 h 6857998"/>
              <a:gd name="connsiteX172" fmla="*/ 6922252 w 9144000"/>
              <a:gd name="connsiteY172" fmla="*/ 6078205 h 6857998"/>
              <a:gd name="connsiteX173" fmla="*/ 6935778 w 9144000"/>
              <a:gd name="connsiteY173" fmla="*/ 6093436 h 6857998"/>
              <a:gd name="connsiteX174" fmla="*/ 6966213 w 9144000"/>
              <a:gd name="connsiteY174" fmla="*/ 6105621 h 6857998"/>
              <a:gd name="connsiteX175" fmla="*/ 6976358 w 9144000"/>
              <a:gd name="connsiteY175" fmla="*/ 6108667 h 6857998"/>
              <a:gd name="connsiteX176" fmla="*/ 6986503 w 9144000"/>
              <a:gd name="connsiteY176" fmla="*/ 6117806 h 6857998"/>
              <a:gd name="connsiteX177" fmla="*/ 7000030 w 9144000"/>
              <a:gd name="connsiteY177" fmla="*/ 6099529 h 6857998"/>
              <a:gd name="connsiteX178" fmla="*/ 7020320 w 9144000"/>
              <a:gd name="connsiteY178" fmla="*/ 6108667 h 6857998"/>
              <a:gd name="connsiteX179" fmla="*/ 7040610 w 9144000"/>
              <a:gd name="connsiteY179" fmla="*/ 6117806 h 6857998"/>
              <a:gd name="connsiteX180" fmla="*/ 7077808 w 9144000"/>
              <a:gd name="connsiteY180" fmla="*/ 6117806 h 6857998"/>
              <a:gd name="connsiteX181" fmla="*/ 7108243 w 9144000"/>
              <a:gd name="connsiteY181" fmla="*/ 6117806 h 6857998"/>
              <a:gd name="connsiteX182" fmla="*/ 7189403 w 9144000"/>
              <a:gd name="connsiteY182" fmla="*/ 6126945 h 6857998"/>
              <a:gd name="connsiteX183" fmla="*/ 7199548 w 9144000"/>
              <a:gd name="connsiteY183" fmla="*/ 6142177 h 6857998"/>
              <a:gd name="connsiteX184" fmla="*/ 7267181 w 9144000"/>
              <a:gd name="connsiteY184" fmla="*/ 6166547 h 6857998"/>
              <a:gd name="connsiteX185" fmla="*/ 7290852 w 9144000"/>
              <a:gd name="connsiteY185" fmla="*/ 6163501 h 6857998"/>
              <a:gd name="connsiteX186" fmla="*/ 7321287 w 9144000"/>
              <a:gd name="connsiteY186" fmla="*/ 6166547 h 6857998"/>
              <a:gd name="connsiteX187" fmla="*/ 7365249 w 9144000"/>
              <a:gd name="connsiteY187" fmla="*/ 6206149 h 6857998"/>
              <a:gd name="connsiteX188" fmla="*/ 7399065 w 9144000"/>
              <a:gd name="connsiteY188" fmla="*/ 6230519 h 6857998"/>
              <a:gd name="connsiteX189" fmla="*/ 7419355 w 9144000"/>
              <a:gd name="connsiteY189" fmla="*/ 6227473 h 6857998"/>
              <a:gd name="connsiteX190" fmla="*/ 7503897 w 9144000"/>
              <a:gd name="connsiteY190" fmla="*/ 6288398 h 6857998"/>
              <a:gd name="connsiteX191" fmla="*/ 7517423 w 9144000"/>
              <a:gd name="connsiteY191" fmla="*/ 6264028 h 6857998"/>
              <a:gd name="connsiteX192" fmla="*/ 7534332 w 9144000"/>
              <a:gd name="connsiteY192" fmla="*/ 6248797 h 6857998"/>
              <a:gd name="connsiteX193" fmla="*/ 7544477 w 9144000"/>
              <a:gd name="connsiteY193" fmla="*/ 6248797 h 6857998"/>
              <a:gd name="connsiteX194" fmla="*/ 7544477 w 9144000"/>
              <a:gd name="connsiteY194" fmla="*/ 6227473 h 6857998"/>
              <a:gd name="connsiteX195" fmla="*/ 7568148 w 9144000"/>
              <a:gd name="connsiteY195" fmla="*/ 6227473 h 6857998"/>
              <a:gd name="connsiteX196" fmla="*/ 7618873 w 9144000"/>
              <a:gd name="connsiteY196" fmla="*/ 6227473 h 6857998"/>
              <a:gd name="connsiteX197" fmla="*/ 7669598 w 9144000"/>
              <a:gd name="connsiteY197" fmla="*/ 6221380 h 6857998"/>
              <a:gd name="connsiteX198" fmla="*/ 7733849 w 9144000"/>
              <a:gd name="connsiteY198" fmla="*/ 6215287 h 6857998"/>
              <a:gd name="connsiteX199" fmla="*/ 7831917 w 9144000"/>
              <a:gd name="connsiteY199" fmla="*/ 6221380 h 6857998"/>
              <a:gd name="connsiteX200" fmla="*/ 7879261 w 9144000"/>
              <a:gd name="connsiteY200" fmla="*/ 6224426 h 6857998"/>
              <a:gd name="connsiteX201" fmla="*/ 7909696 w 9144000"/>
              <a:gd name="connsiteY201" fmla="*/ 6227473 h 6857998"/>
              <a:gd name="connsiteX202" fmla="*/ 7936749 w 9144000"/>
              <a:gd name="connsiteY202" fmla="*/ 6230519 h 6857998"/>
              <a:gd name="connsiteX203" fmla="*/ 7963802 w 9144000"/>
              <a:gd name="connsiteY203" fmla="*/ 6224426 h 6857998"/>
              <a:gd name="connsiteX204" fmla="*/ 8024672 w 9144000"/>
              <a:gd name="connsiteY204" fmla="*/ 6251843 h 6857998"/>
              <a:gd name="connsiteX205" fmla="*/ 8088923 w 9144000"/>
              <a:gd name="connsiteY205" fmla="*/ 6254889 h 6857998"/>
              <a:gd name="connsiteX206" fmla="*/ 8122740 w 9144000"/>
              <a:gd name="connsiteY206" fmla="*/ 6254889 h 6857998"/>
              <a:gd name="connsiteX207" fmla="*/ 8268151 w 9144000"/>
              <a:gd name="connsiteY207" fmla="*/ 6260982 h 6857998"/>
              <a:gd name="connsiteX208" fmla="*/ 8335784 w 9144000"/>
              <a:gd name="connsiteY208" fmla="*/ 6260982 h 6857998"/>
              <a:gd name="connsiteX209" fmla="*/ 8342548 w 9144000"/>
              <a:gd name="connsiteY209" fmla="*/ 6260982 h 6857998"/>
              <a:gd name="connsiteX210" fmla="*/ 8356074 w 9144000"/>
              <a:gd name="connsiteY210" fmla="*/ 6257935 h 6857998"/>
              <a:gd name="connsiteX211" fmla="*/ 8369601 w 9144000"/>
              <a:gd name="connsiteY211" fmla="*/ 6254889 h 6857998"/>
              <a:gd name="connsiteX212" fmla="*/ 8393272 w 9144000"/>
              <a:gd name="connsiteY212" fmla="*/ 6260982 h 6857998"/>
              <a:gd name="connsiteX213" fmla="*/ 8406799 w 9144000"/>
              <a:gd name="connsiteY213" fmla="*/ 6264028 h 6857998"/>
              <a:gd name="connsiteX214" fmla="*/ 8423707 w 9144000"/>
              <a:gd name="connsiteY214" fmla="*/ 6221380 h 6857998"/>
              <a:gd name="connsiteX215" fmla="*/ 8443997 w 9144000"/>
              <a:gd name="connsiteY215" fmla="*/ 6218334 h 6857998"/>
              <a:gd name="connsiteX216" fmla="*/ 8474432 w 9144000"/>
              <a:gd name="connsiteY216" fmla="*/ 6224426 h 6857998"/>
              <a:gd name="connsiteX217" fmla="*/ 8491340 w 9144000"/>
              <a:gd name="connsiteY217" fmla="*/ 6212241 h 6857998"/>
              <a:gd name="connsiteX218" fmla="*/ 8521775 w 9144000"/>
              <a:gd name="connsiteY218" fmla="*/ 6197010 h 6857998"/>
              <a:gd name="connsiteX219" fmla="*/ 8531920 w 9144000"/>
              <a:gd name="connsiteY219" fmla="*/ 6215287 h 6857998"/>
              <a:gd name="connsiteX220" fmla="*/ 8579263 w 9144000"/>
              <a:gd name="connsiteY220" fmla="*/ 6215287 h 6857998"/>
              <a:gd name="connsiteX221" fmla="*/ 8619843 w 9144000"/>
              <a:gd name="connsiteY221" fmla="*/ 6218334 h 6857998"/>
              <a:gd name="connsiteX222" fmla="*/ 8660423 w 9144000"/>
              <a:gd name="connsiteY222" fmla="*/ 6221380 h 6857998"/>
              <a:gd name="connsiteX223" fmla="*/ 8684095 w 9144000"/>
              <a:gd name="connsiteY223" fmla="*/ 6218334 h 6857998"/>
              <a:gd name="connsiteX224" fmla="*/ 8690858 w 9144000"/>
              <a:gd name="connsiteY224" fmla="*/ 6215287 h 6857998"/>
              <a:gd name="connsiteX225" fmla="*/ 8717911 w 9144000"/>
              <a:gd name="connsiteY225" fmla="*/ 6224426 h 6857998"/>
              <a:gd name="connsiteX226" fmla="*/ 8744964 w 9144000"/>
              <a:gd name="connsiteY226" fmla="*/ 6215287 h 6857998"/>
              <a:gd name="connsiteX227" fmla="*/ 8772018 w 9144000"/>
              <a:gd name="connsiteY227" fmla="*/ 6215287 h 6857998"/>
              <a:gd name="connsiteX228" fmla="*/ 8799071 w 9144000"/>
              <a:gd name="connsiteY228" fmla="*/ 6215287 h 6857998"/>
              <a:gd name="connsiteX229" fmla="*/ 8822743 w 9144000"/>
              <a:gd name="connsiteY229" fmla="*/ 6209195 h 6857998"/>
              <a:gd name="connsiteX230" fmla="*/ 8843033 w 9144000"/>
              <a:gd name="connsiteY230" fmla="*/ 6197010 h 6857998"/>
              <a:gd name="connsiteX231" fmla="*/ 8903902 w 9144000"/>
              <a:gd name="connsiteY231" fmla="*/ 6190917 h 6857998"/>
              <a:gd name="connsiteX232" fmla="*/ 8964772 w 9144000"/>
              <a:gd name="connsiteY232" fmla="*/ 6187871 h 6857998"/>
              <a:gd name="connsiteX233" fmla="*/ 8995207 w 9144000"/>
              <a:gd name="connsiteY233" fmla="*/ 6181778 h 6857998"/>
              <a:gd name="connsiteX234" fmla="*/ 9032405 w 9144000"/>
              <a:gd name="connsiteY234" fmla="*/ 6178732 h 6857998"/>
              <a:gd name="connsiteX235" fmla="*/ 9059459 w 9144000"/>
              <a:gd name="connsiteY235" fmla="*/ 6172639 h 6857998"/>
              <a:gd name="connsiteX236" fmla="*/ 9086512 w 9144000"/>
              <a:gd name="connsiteY236" fmla="*/ 6175686 h 6857998"/>
              <a:gd name="connsiteX237" fmla="*/ 9096657 w 9144000"/>
              <a:gd name="connsiteY237" fmla="*/ 6172639 h 6857998"/>
              <a:gd name="connsiteX238" fmla="*/ 9130473 w 9144000"/>
              <a:gd name="connsiteY238" fmla="*/ 6175686 h 6857998"/>
              <a:gd name="connsiteX239" fmla="*/ 9144000 w 9144000"/>
              <a:gd name="connsiteY239" fmla="*/ 6184825 h 6857998"/>
              <a:gd name="connsiteX240" fmla="*/ 9144000 w 9144000"/>
              <a:gd name="connsiteY240" fmla="*/ 6355416 h 6857998"/>
              <a:gd name="connsiteX241" fmla="*/ 9144000 w 9144000"/>
              <a:gd name="connsiteY241" fmla="*/ 6373899 h 6857998"/>
              <a:gd name="connsiteX242" fmla="*/ 9144000 w 9144000"/>
              <a:gd name="connsiteY242" fmla="*/ 6449851 h 6857998"/>
              <a:gd name="connsiteX243" fmla="*/ 9144000 w 9144000"/>
              <a:gd name="connsiteY243" fmla="*/ 6857998 h 6857998"/>
              <a:gd name="connsiteX244" fmla="*/ 0 w 9144000"/>
              <a:gd name="connsiteY244" fmla="*/ 6857998 h 6857998"/>
              <a:gd name="connsiteX245" fmla="*/ 0 w 9144000"/>
              <a:gd name="connsiteY245" fmla="*/ 6449851 h 6857998"/>
              <a:gd name="connsiteX246" fmla="*/ 0 w 9144000"/>
              <a:gd name="connsiteY246" fmla="*/ 6395018 h 6857998"/>
              <a:gd name="connsiteX247" fmla="*/ 0 w 9144000"/>
              <a:gd name="connsiteY247" fmla="*/ 6373899 h 6857998"/>
              <a:gd name="connsiteX248" fmla="*/ 0 w 9144000"/>
              <a:gd name="connsiteY248" fmla="*/ 6309532 h 6857998"/>
              <a:gd name="connsiteX249" fmla="*/ 0 w 9144000"/>
              <a:gd name="connsiteY249" fmla="*/ 6105621 h 6857998"/>
              <a:gd name="connsiteX250" fmla="*/ 54107 w 9144000"/>
              <a:gd name="connsiteY250" fmla="*/ 6090390 h 6857998"/>
              <a:gd name="connsiteX251" fmla="*/ 98068 w 9144000"/>
              <a:gd name="connsiteY251" fmla="*/ 6078205 h 6857998"/>
              <a:gd name="connsiteX252" fmla="*/ 118358 w 9144000"/>
              <a:gd name="connsiteY252" fmla="*/ 6072112 h 6857998"/>
              <a:gd name="connsiteX253" fmla="*/ 172465 w 9144000"/>
              <a:gd name="connsiteY253" fmla="*/ 6081251 h 6857998"/>
              <a:gd name="connsiteX254" fmla="*/ 185991 w 9144000"/>
              <a:gd name="connsiteY254" fmla="*/ 6084297 h 6857998"/>
              <a:gd name="connsiteX255" fmla="*/ 226571 w 9144000"/>
              <a:gd name="connsiteY255" fmla="*/ 6078205 h 6857998"/>
              <a:gd name="connsiteX256" fmla="*/ 284059 w 9144000"/>
              <a:gd name="connsiteY256" fmla="*/ 6050788 h 6857998"/>
              <a:gd name="connsiteX257" fmla="*/ 297586 w 9144000"/>
              <a:gd name="connsiteY257" fmla="*/ 6050788 h 6857998"/>
              <a:gd name="connsiteX258" fmla="*/ 317876 w 9144000"/>
              <a:gd name="connsiteY258" fmla="*/ 6062973 h 6857998"/>
              <a:gd name="connsiteX259" fmla="*/ 344929 w 9144000"/>
              <a:gd name="connsiteY259" fmla="*/ 6081251 h 6857998"/>
              <a:gd name="connsiteX260" fmla="*/ 355074 w 9144000"/>
              <a:gd name="connsiteY260" fmla="*/ 6081251 h 6857998"/>
              <a:gd name="connsiteX261" fmla="*/ 409181 w 9144000"/>
              <a:gd name="connsiteY261" fmla="*/ 6081251 h 6857998"/>
              <a:gd name="connsiteX262" fmla="*/ 432852 w 9144000"/>
              <a:gd name="connsiteY262" fmla="*/ 6084297 h 6857998"/>
              <a:gd name="connsiteX263" fmla="*/ 456524 w 9144000"/>
              <a:gd name="connsiteY263" fmla="*/ 6084297 h 6857998"/>
              <a:gd name="connsiteX264" fmla="*/ 486959 w 9144000"/>
              <a:gd name="connsiteY264" fmla="*/ 6072112 h 6857998"/>
              <a:gd name="connsiteX265" fmla="*/ 490340 w 9144000"/>
              <a:gd name="connsiteY265" fmla="*/ 6069066 h 6857998"/>
              <a:gd name="connsiteX266" fmla="*/ 517394 w 9144000"/>
              <a:gd name="connsiteY266" fmla="*/ 6059927 h 6857998"/>
              <a:gd name="connsiteX267" fmla="*/ 561355 w 9144000"/>
              <a:gd name="connsiteY267" fmla="*/ 6056881 h 6857998"/>
              <a:gd name="connsiteX268" fmla="*/ 628988 w 9144000"/>
              <a:gd name="connsiteY268" fmla="*/ 6069066 h 6857998"/>
              <a:gd name="connsiteX269" fmla="*/ 628988 w 9144000"/>
              <a:gd name="connsiteY269" fmla="*/ 6072112 h 6857998"/>
              <a:gd name="connsiteX270" fmla="*/ 632370 w 9144000"/>
              <a:gd name="connsiteY270" fmla="*/ 6072112 h 6857998"/>
              <a:gd name="connsiteX271" fmla="*/ 628988 w 9144000"/>
              <a:gd name="connsiteY271" fmla="*/ 6069066 h 6857998"/>
              <a:gd name="connsiteX272" fmla="*/ 628988 w 9144000"/>
              <a:gd name="connsiteY272" fmla="*/ 6066019 h 6857998"/>
              <a:gd name="connsiteX273" fmla="*/ 632370 w 9144000"/>
              <a:gd name="connsiteY273" fmla="*/ 6059927 h 6857998"/>
              <a:gd name="connsiteX274" fmla="*/ 649278 w 9144000"/>
              <a:gd name="connsiteY274" fmla="*/ 6056881 h 6857998"/>
              <a:gd name="connsiteX275" fmla="*/ 656042 w 9144000"/>
              <a:gd name="connsiteY275" fmla="*/ 6056881 h 6857998"/>
              <a:gd name="connsiteX276" fmla="*/ 662805 w 9144000"/>
              <a:gd name="connsiteY276" fmla="*/ 6044696 h 6857998"/>
              <a:gd name="connsiteX277" fmla="*/ 669568 w 9144000"/>
              <a:gd name="connsiteY277" fmla="*/ 6053834 h 6857998"/>
              <a:gd name="connsiteX278" fmla="*/ 710148 w 9144000"/>
              <a:gd name="connsiteY278" fmla="*/ 6056881 h 6857998"/>
              <a:gd name="connsiteX279" fmla="*/ 737201 w 9144000"/>
              <a:gd name="connsiteY279" fmla="*/ 6050788 h 6857998"/>
              <a:gd name="connsiteX280" fmla="*/ 750728 w 9144000"/>
              <a:gd name="connsiteY280" fmla="*/ 6081251 h 6857998"/>
              <a:gd name="connsiteX281" fmla="*/ 767636 w 9144000"/>
              <a:gd name="connsiteY281" fmla="*/ 6081251 h 6857998"/>
              <a:gd name="connsiteX282" fmla="*/ 784545 w 9144000"/>
              <a:gd name="connsiteY282" fmla="*/ 6090390 h 6857998"/>
              <a:gd name="connsiteX283" fmla="*/ 787926 w 9144000"/>
              <a:gd name="connsiteY283" fmla="*/ 6059927 h 6857998"/>
              <a:gd name="connsiteX284" fmla="*/ 852178 w 9144000"/>
              <a:gd name="connsiteY284" fmla="*/ 6041649 h 6857998"/>
              <a:gd name="connsiteX285" fmla="*/ 875849 w 9144000"/>
              <a:gd name="connsiteY285" fmla="*/ 6050788 h 6857998"/>
              <a:gd name="connsiteX286" fmla="*/ 906284 w 9144000"/>
              <a:gd name="connsiteY286" fmla="*/ 6038603 h 6857998"/>
              <a:gd name="connsiteX287" fmla="*/ 960391 w 9144000"/>
              <a:gd name="connsiteY287" fmla="*/ 6032510 h 6857998"/>
              <a:gd name="connsiteX288" fmla="*/ 1000971 w 9144000"/>
              <a:gd name="connsiteY288" fmla="*/ 6035557 h 6857998"/>
              <a:gd name="connsiteX289" fmla="*/ 1028024 w 9144000"/>
              <a:gd name="connsiteY289" fmla="*/ 6035557 h 6857998"/>
              <a:gd name="connsiteX290" fmla="*/ 1058459 w 9144000"/>
              <a:gd name="connsiteY290" fmla="*/ 6044696 h 6857998"/>
              <a:gd name="connsiteX291" fmla="*/ 1075367 w 9144000"/>
              <a:gd name="connsiteY291" fmla="*/ 6035557 h 6857998"/>
              <a:gd name="connsiteX292" fmla="*/ 1115947 w 9144000"/>
              <a:gd name="connsiteY292" fmla="*/ 6026418 h 6857998"/>
              <a:gd name="connsiteX293" fmla="*/ 1126092 w 9144000"/>
              <a:gd name="connsiteY293" fmla="*/ 6026418 h 6857998"/>
              <a:gd name="connsiteX294" fmla="*/ 1180198 w 9144000"/>
              <a:gd name="connsiteY294" fmla="*/ 6032510 h 6857998"/>
              <a:gd name="connsiteX295" fmla="*/ 1197107 w 9144000"/>
              <a:gd name="connsiteY295" fmla="*/ 6044696 h 6857998"/>
              <a:gd name="connsiteX296" fmla="*/ 1234305 w 9144000"/>
              <a:gd name="connsiteY296" fmla="*/ 6032510 h 6857998"/>
              <a:gd name="connsiteX297" fmla="*/ 1271503 w 9144000"/>
              <a:gd name="connsiteY297" fmla="*/ 6011186 h 6857998"/>
              <a:gd name="connsiteX298" fmla="*/ 1278689 w 9144000"/>
              <a:gd name="connsiteY298" fmla="*/ 6003571 h 6857998"/>
              <a:gd name="connsiteX299" fmla="*/ 0 w 9144000"/>
              <a:gd name="connsiteY299" fmla="*/ 0 h 6857998"/>
              <a:gd name="connsiteX300" fmla="*/ 9144000 w 9144000"/>
              <a:gd name="connsiteY300" fmla="*/ 0 h 6857998"/>
              <a:gd name="connsiteX301" fmla="*/ 9144000 w 9144000"/>
              <a:gd name="connsiteY301" fmla="*/ 3557913 h 6857998"/>
              <a:gd name="connsiteX302" fmla="*/ 9144000 w 9144000"/>
              <a:gd name="connsiteY302" fmla="*/ 3589613 h 6857998"/>
              <a:gd name="connsiteX303" fmla="*/ 9144000 w 9144000"/>
              <a:gd name="connsiteY303" fmla="*/ 3592414 h 6857998"/>
              <a:gd name="connsiteX304" fmla="*/ 9144000 w 9144000"/>
              <a:gd name="connsiteY304" fmla="*/ 3605892 h 6857998"/>
              <a:gd name="connsiteX305" fmla="*/ 9144000 w 9144000"/>
              <a:gd name="connsiteY305" fmla="*/ 3612746 h 6857998"/>
              <a:gd name="connsiteX306" fmla="*/ 9144000 w 9144000"/>
              <a:gd name="connsiteY306" fmla="*/ 3902143 h 6857998"/>
              <a:gd name="connsiteX307" fmla="*/ 9089893 w 9144000"/>
              <a:gd name="connsiteY307" fmla="*/ 3917375 h 6857998"/>
              <a:gd name="connsiteX308" fmla="*/ 9045932 w 9144000"/>
              <a:gd name="connsiteY308" fmla="*/ 3929560 h 6857998"/>
              <a:gd name="connsiteX309" fmla="*/ 9025642 w 9144000"/>
              <a:gd name="connsiteY309" fmla="*/ 3935652 h 6857998"/>
              <a:gd name="connsiteX310" fmla="*/ 8971536 w 9144000"/>
              <a:gd name="connsiteY310" fmla="*/ 3926513 h 6857998"/>
              <a:gd name="connsiteX311" fmla="*/ 8958009 w 9144000"/>
              <a:gd name="connsiteY311" fmla="*/ 3923467 h 6857998"/>
              <a:gd name="connsiteX312" fmla="*/ 8917429 w 9144000"/>
              <a:gd name="connsiteY312" fmla="*/ 3929560 h 6857998"/>
              <a:gd name="connsiteX313" fmla="*/ 8859941 w 9144000"/>
              <a:gd name="connsiteY313" fmla="*/ 3956976 h 6857998"/>
              <a:gd name="connsiteX314" fmla="*/ 8846414 w 9144000"/>
              <a:gd name="connsiteY314" fmla="*/ 3956976 h 6857998"/>
              <a:gd name="connsiteX315" fmla="*/ 8826124 w 9144000"/>
              <a:gd name="connsiteY315" fmla="*/ 3944791 h 6857998"/>
              <a:gd name="connsiteX316" fmla="*/ 8799071 w 9144000"/>
              <a:gd name="connsiteY316" fmla="*/ 3926513 h 6857998"/>
              <a:gd name="connsiteX317" fmla="*/ 8788926 w 9144000"/>
              <a:gd name="connsiteY317" fmla="*/ 3926513 h 6857998"/>
              <a:gd name="connsiteX318" fmla="*/ 8734820 w 9144000"/>
              <a:gd name="connsiteY318" fmla="*/ 3926513 h 6857998"/>
              <a:gd name="connsiteX319" fmla="*/ 8711148 w 9144000"/>
              <a:gd name="connsiteY319" fmla="*/ 3923467 h 6857998"/>
              <a:gd name="connsiteX320" fmla="*/ 8687476 w 9144000"/>
              <a:gd name="connsiteY320" fmla="*/ 3923467 h 6857998"/>
              <a:gd name="connsiteX321" fmla="*/ 8657041 w 9144000"/>
              <a:gd name="connsiteY321" fmla="*/ 3935652 h 6857998"/>
              <a:gd name="connsiteX322" fmla="*/ 8653660 w 9144000"/>
              <a:gd name="connsiteY322" fmla="*/ 3938699 h 6857998"/>
              <a:gd name="connsiteX323" fmla="*/ 8626606 w 9144000"/>
              <a:gd name="connsiteY323" fmla="*/ 3947837 h 6857998"/>
              <a:gd name="connsiteX324" fmla="*/ 8582645 w 9144000"/>
              <a:gd name="connsiteY324" fmla="*/ 3950884 h 6857998"/>
              <a:gd name="connsiteX325" fmla="*/ 8515012 w 9144000"/>
              <a:gd name="connsiteY325" fmla="*/ 3938699 h 6857998"/>
              <a:gd name="connsiteX326" fmla="*/ 8515012 w 9144000"/>
              <a:gd name="connsiteY326" fmla="*/ 3935652 h 6857998"/>
              <a:gd name="connsiteX327" fmla="*/ 8511630 w 9144000"/>
              <a:gd name="connsiteY327" fmla="*/ 3935652 h 6857998"/>
              <a:gd name="connsiteX328" fmla="*/ 8515012 w 9144000"/>
              <a:gd name="connsiteY328" fmla="*/ 3938699 h 6857998"/>
              <a:gd name="connsiteX329" fmla="*/ 8515012 w 9144000"/>
              <a:gd name="connsiteY329" fmla="*/ 3941745 h 6857998"/>
              <a:gd name="connsiteX330" fmla="*/ 8511630 w 9144000"/>
              <a:gd name="connsiteY330" fmla="*/ 3947837 h 6857998"/>
              <a:gd name="connsiteX331" fmla="*/ 8494722 w 9144000"/>
              <a:gd name="connsiteY331" fmla="*/ 3950884 h 6857998"/>
              <a:gd name="connsiteX332" fmla="*/ 8487959 w 9144000"/>
              <a:gd name="connsiteY332" fmla="*/ 3950884 h 6857998"/>
              <a:gd name="connsiteX333" fmla="*/ 8481195 w 9144000"/>
              <a:gd name="connsiteY333" fmla="*/ 3963069 h 6857998"/>
              <a:gd name="connsiteX334" fmla="*/ 8474432 w 9144000"/>
              <a:gd name="connsiteY334" fmla="*/ 3953930 h 6857998"/>
              <a:gd name="connsiteX335" fmla="*/ 8433852 w 9144000"/>
              <a:gd name="connsiteY335" fmla="*/ 3950884 h 6857998"/>
              <a:gd name="connsiteX336" fmla="*/ 8406799 w 9144000"/>
              <a:gd name="connsiteY336" fmla="*/ 3956976 h 6857998"/>
              <a:gd name="connsiteX337" fmla="*/ 8393272 w 9144000"/>
              <a:gd name="connsiteY337" fmla="*/ 3926513 h 6857998"/>
              <a:gd name="connsiteX338" fmla="*/ 8376364 w 9144000"/>
              <a:gd name="connsiteY338" fmla="*/ 3926513 h 6857998"/>
              <a:gd name="connsiteX339" fmla="*/ 8359455 w 9144000"/>
              <a:gd name="connsiteY339" fmla="*/ 3917375 h 6857998"/>
              <a:gd name="connsiteX340" fmla="*/ 8356074 w 9144000"/>
              <a:gd name="connsiteY340" fmla="*/ 3947837 h 6857998"/>
              <a:gd name="connsiteX341" fmla="*/ 8291822 w 9144000"/>
              <a:gd name="connsiteY341" fmla="*/ 3966115 h 6857998"/>
              <a:gd name="connsiteX342" fmla="*/ 8268151 w 9144000"/>
              <a:gd name="connsiteY342" fmla="*/ 3956976 h 6857998"/>
              <a:gd name="connsiteX343" fmla="*/ 8237716 w 9144000"/>
              <a:gd name="connsiteY343" fmla="*/ 3969161 h 6857998"/>
              <a:gd name="connsiteX344" fmla="*/ 8183609 w 9144000"/>
              <a:gd name="connsiteY344" fmla="*/ 3975254 h 6857998"/>
              <a:gd name="connsiteX345" fmla="*/ 8143029 w 9144000"/>
              <a:gd name="connsiteY345" fmla="*/ 3972208 h 6857998"/>
              <a:gd name="connsiteX346" fmla="*/ 8115976 w 9144000"/>
              <a:gd name="connsiteY346" fmla="*/ 3972208 h 6857998"/>
              <a:gd name="connsiteX347" fmla="*/ 8085541 w 9144000"/>
              <a:gd name="connsiteY347" fmla="*/ 3963069 h 6857998"/>
              <a:gd name="connsiteX348" fmla="*/ 8068633 w 9144000"/>
              <a:gd name="connsiteY348" fmla="*/ 3972208 h 6857998"/>
              <a:gd name="connsiteX349" fmla="*/ 8028053 w 9144000"/>
              <a:gd name="connsiteY349" fmla="*/ 3981347 h 6857998"/>
              <a:gd name="connsiteX350" fmla="*/ 8017908 w 9144000"/>
              <a:gd name="connsiteY350" fmla="*/ 3981347 h 6857998"/>
              <a:gd name="connsiteX351" fmla="*/ 7963802 w 9144000"/>
              <a:gd name="connsiteY351" fmla="*/ 3975254 h 6857998"/>
              <a:gd name="connsiteX352" fmla="*/ 7946893 w 9144000"/>
              <a:gd name="connsiteY352" fmla="*/ 3963069 h 6857998"/>
              <a:gd name="connsiteX353" fmla="*/ 7909695 w 9144000"/>
              <a:gd name="connsiteY353" fmla="*/ 3975254 h 6857998"/>
              <a:gd name="connsiteX354" fmla="*/ 7872497 w 9144000"/>
              <a:gd name="connsiteY354" fmla="*/ 3996578 h 6857998"/>
              <a:gd name="connsiteX355" fmla="*/ 7855589 w 9144000"/>
              <a:gd name="connsiteY355" fmla="*/ 4002671 h 6857998"/>
              <a:gd name="connsiteX356" fmla="*/ 7818390 w 9144000"/>
              <a:gd name="connsiteY356" fmla="*/ 3956976 h 6857998"/>
              <a:gd name="connsiteX357" fmla="*/ 7750757 w 9144000"/>
              <a:gd name="connsiteY357" fmla="*/ 3960023 h 6857998"/>
              <a:gd name="connsiteX358" fmla="*/ 7720322 w 9144000"/>
              <a:gd name="connsiteY358" fmla="*/ 3950884 h 6857998"/>
              <a:gd name="connsiteX359" fmla="*/ 7693269 w 9144000"/>
              <a:gd name="connsiteY359" fmla="*/ 3929560 h 6857998"/>
              <a:gd name="connsiteX360" fmla="*/ 7679742 w 9144000"/>
              <a:gd name="connsiteY360" fmla="*/ 3923467 h 6857998"/>
              <a:gd name="connsiteX361" fmla="*/ 7625636 w 9144000"/>
              <a:gd name="connsiteY361" fmla="*/ 3917375 h 6857998"/>
              <a:gd name="connsiteX362" fmla="*/ 7608728 w 9144000"/>
              <a:gd name="connsiteY362" fmla="*/ 3917375 h 6857998"/>
              <a:gd name="connsiteX363" fmla="*/ 7598583 w 9144000"/>
              <a:gd name="connsiteY363" fmla="*/ 3905189 h 6857998"/>
              <a:gd name="connsiteX364" fmla="*/ 7558003 w 9144000"/>
              <a:gd name="connsiteY364" fmla="*/ 3871680 h 6857998"/>
              <a:gd name="connsiteX365" fmla="*/ 7544476 w 9144000"/>
              <a:gd name="connsiteY365" fmla="*/ 3865588 h 6857998"/>
              <a:gd name="connsiteX366" fmla="*/ 7514041 w 9144000"/>
              <a:gd name="connsiteY366" fmla="*/ 3844264 h 6857998"/>
              <a:gd name="connsiteX367" fmla="*/ 7490370 w 9144000"/>
              <a:gd name="connsiteY367" fmla="*/ 3838171 h 6857998"/>
              <a:gd name="connsiteX368" fmla="*/ 7473461 w 9144000"/>
              <a:gd name="connsiteY368" fmla="*/ 3813801 h 6857998"/>
              <a:gd name="connsiteX369" fmla="*/ 7399065 w 9144000"/>
              <a:gd name="connsiteY369" fmla="*/ 3792477 h 6857998"/>
              <a:gd name="connsiteX370" fmla="*/ 7385538 w 9144000"/>
              <a:gd name="connsiteY370" fmla="*/ 3786384 h 6857998"/>
              <a:gd name="connsiteX371" fmla="*/ 7328050 w 9144000"/>
              <a:gd name="connsiteY371" fmla="*/ 3774199 h 6857998"/>
              <a:gd name="connsiteX372" fmla="*/ 7311142 w 9144000"/>
              <a:gd name="connsiteY372" fmla="*/ 3783338 h 6857998"/>
              <a:gd name="connsiteX373" fmla="*/ 7300997 w 9144000"/>
              <a:gd name="connsiteY373" fmla="*/ 3777246 h 6857998"/>
              <a:gd name="connsiteX374" fmla="*/ 7240127 w 9144000"/>
              <a:gd name="connsiteY374" fmla="*/ 3752875 h 6857998"/>
              <a:gd name="connsiteX375" fmla="*/ 7226600 w 9144000"/>
              <a:gd name="connsiteY375" fmla="*/ 3752875 h 6857998"/>
              <a:gd name="connsiteX376" fmla="*/ 7169112 w 9144000"/>
              <a:gd name="connsiteY376" fmla="*/ 3752875 h 6857998"/>
              <a:gd name="connsiteX377" fmla="*/ 7131914 w 9144000"/>
              <a:gd name="connsiteY377" fmla="*/ 3752875 h 6857998"/>
              <a:gd name="connsiteX378" fmla="*/ 7077808 w 9144000"/>
              <a:gd name="connsiteY378" fmla="*/ 3758968 h 6857998"/>
              <a:gd name="connsiteX379" fmla="*/ 7006793 w 9144000"/>
              <a:gd name="connsiteY379" fmla="*/ 3768107 h 6857998"/>
              <a:gd name="connsiteX380" fmla="*/ 6925633 w 9144000"/>
              <a:gd name="connsiteY380" fmla="*/ 3765060 h 6857998"/>
              <a:gd name="connsiteX381" fmla="*/ 6912106 w 9144000"/>
              <a:gd name="connsiteY381" fmla="*/ 3762014 h 6857998"/>
              <a:gd name="connsiteX382" fmla="*/ 6861382 w 9144000"/>
              <a:gd name="connsiteY382" fmla="*/ 3755922 h 6857998"/>
              <a:gd name="connsiteX383" fmla="*/ 6807275 w 9144000"/>
              <a:gd name="connsiteY383" fmla="*/ 3749829 h 6857998"/>
              <a:gd name="connsiteX384" fmla="*/ 6797130 w 9144000"/>
              <a:gd name="connsiteY384" fmla="*/ 3752875 h 6857998"/>
              <a:gd name="connsiteX385" fmla="*/ 6783603 w 9144000"/>
              <a:gd name="connsiteY385" fmla="*/ 3755922 h 6857998"/>
              <a:gd name="connsiteX386" fmla="*/ 6776840 w 9144000"/>
              <a:gd name="connsiteY386" fmla="*/ 3752875 h 6857998"/>
              <a:gd name="connsiteX387" fmla="*/ 6726115 w 9144000"/>
              <a:gd name="connsiteY387" fmla="*/ 3731551 h 6857998"/>
              <a:gd name="connsiteX388" fmla="*/ 6607757 w 9144000"/>
              <a:gd name="connsiteY388" fmla="*/ 3725459 h 6857998"/>
              <a:gd name="connsiteX389" fmla="*/ 6604376 w 9144000"/>
              <a:gd name="connsiteY389" fmla="*/ 3728505 h 6857998"/>
              <a:gd name="connsiteX390" fmla="*/ 6496163 w 9144000"/>
              <a:gd name="connsiteY390" fmla="*/ 3725459 h 6857998"/>
              <a:gd name="connsiteX391" fmla="*/ 6448819 w 9144000"/>
              <a:gd name="connsiteY391" fmla="*/ 3713274 h 6857998"/>
              <a:gd name="connsiteX392" fmla="*/ 6435293 w 9144000"/>
              <a:gd name="connsiteY392" fmla="*/ 3713274 h 6857998"/>
              <a:gd name="connsiteX393" fmla="*/ 6391331 w 9144000"/>
              <a:gd name="connsiteY393" fmla="*/ 3719366 h 6857998"/>
              <a:gd name="connsiteX394" fmla="*/ 6347370 w 9144000"/>
              <a:gd name="connsiteY394" fmla="*/ 3719366 h 6857998"/>
              <a:gd name="connsiteX395" fmla="*/ 6333843 w 9144000"/>
              <a:gd name="connsiteY395" fmla="*/ 3716320 h 6857998"/>
              <a:gd name="connsiteX396" fmla="*/ 6323698 w 9144000"/>
              <a:gd name="connsiteY396" fmla="*/ 3758968 h 6857998"/>
              <a:gd name="connsiteX397" fmla="*/ 6310171 w 9144000"/>
              <a:gd name="connsiteY397" fmla="*/ 3762014 h 6857998"/>
              <a:gd name="connsiteX398" fmla="*/ 6266210 w 9144000"/>
              <a:gd name="connsiteY398" fmla="*/ 3755922 h 6857998"/>
              <a:gd name="connsiteX399" fmla="*/ 6252683 w 9144000"/>
              <a:gd name="connsiteY399" fmla="*/ 3771153 h 6857998"/>
              <a:gd name="connsiteX400" fmla="*/ 6222248 w 9144000"/>
              <a:gd name="connsiteY400" fmla="*/ 3783338 h 6857998"/>
              <a:gd name="connsiteX401" fmla="*/ 6208722 w 9144000"/>
              <a:gd name="connsiteY401" fmla="*/ 3765060 h 6857998"/>
              <a:gd name="connsiteX402" fmla="*/ 6191813 w 9144000"/>
              <a:gd name="connsiteY402" fmla="*/ 3768107 h 6857998"/>
              <a:gd name="connsiteX403" fmla="*/ 6157997 w 9144000"/>
              <a:gd name="connsiteY403" fmla="*/ 3762014 h 6857998"/>
              <a:gd name="connsiteX404" fmla="*/ 6124180 w 9144000"/>
              <a:gd name="connsiteY404" fmla="*/ 3765060 h 6857998"/>
              <a:gd name="connsiteX405" fmla="*/ 6063311 w 9144000"/>
              <a:gd name="connsiteY405" fmla="*/ 3762014 h 6857998"/>
              <a:gd name="connsiteX406" fmla="*/ 6039639 w 9144000"/>
              <a:gd name="connsiteY406" fmla="*/ 3762014 h 6857998"/>
              <a:gd name="connsiteX407" fmla="*/ 6015967 w 9144000"/>
              <a:gd name="connsiteY407" fmla="*/ 3762014 h 6857998"/>
              <a:gd name="connsiteX408" fmla="*/ 5999059 w 9144000"/>
              <a:gd name="connsiteY408" fmla="*/ 3765060 h 6857998"/>
              <a:gd name="connsiteX409" fmla="*/ 5972006 w 9144000"/>
              <a:gd name="connsiteY409" fmla="*/ 3765060 h 6857998"/>
              <a:gd name="connsiteX410" fmla="*/ 5941571 w 9144000"/>
              <a:gd name="connsiteY410" fmla="*/ 3765060 h 6857998"/>
              <a:gd name="connsiteX411" fmla="*/ 5914518 w 9144000"/>
              <a:gd name="connsiteY411" fmla="*/ 3771153 h 6857998"/>
              <a:gd name="connsiteX412" fmla="*/ 5846884 w 9144000"/>
              <a:gd name="connsiteY412" fmla="*/ 3792477 h 6857998"/>
              <a:gd name="connsiteX413" fmla="*/ 5779251 w 9144000"/>
              <a:gd name="connsiteY413" fmla="*/ 3795523 h 6857998"/>
              <a:gd name="connsiteX414" fmla="*/ 5742053 w 9144000"/>
              <a:gd name="connsiteY414" fmla="*/ 3798570 h 6857998"/>
              <a:gd name="connsiteX415" fmla="*/ 5725145 w 9144000"/>
              <a:gd name="connsiteY415" fmla="*/ 3798570 h 6857998"/>
              <a:gd name="connsiteX416" fmla="*/ 5691328 w 9144000"/>
              <a:gd name="connsiteY416" fmla="*/ 3804662 h 6857998"/>
              <a:gd name="connsiteX417" fmla="*/ 5657512 w 9144000"/>
              <a:gd name="connsiteY417" fmla="*/ 3807708 h 6857998"/>
              <a:gd name="connsiteX418" fmla="*/ 5643985 w 9144000"/>
              <a:gd name="connsiteY418" fmla="*/ 3810754 h 6857998"/>
              <a:gd name="connsiteX419" fmla="*/ 5616932 w 9144000"/>
              <a:gd name="connsiteY419" fmla="*/ 3807708 h 6857998"/>
              <a:gd name="connsiteX420" fmla="*/ 5603405 w 9144000"/>
              <a:gd name="connsiteY420" fmla="*/ 3801616 h 6857998"/>
              <a:gd name="connsiteX421" fmla="*/ 5532390 w 9144000"/>
              <a:gd name="connsiteY421" fmla="*/ 3813801 h 6857998"/>
              <a:gd name="connsiteX422" fmla="*/ 5505337 w 9144000"/>
              <a:gd name="connsiteY422" fmla="*/ 3813801 h 6857998"/>
              <a:gd name="connsiteX423" fmla="*/ 5437704 w 9144000"/>
              <a:gd name="connsiteY423" fmla="*/ 3804662 h 6857998"/>
              <a:gd name="connsiteX424" fmla="*/ 5407269 w 9144000"/>
              <a:gd name="connsiteY424" fmla="*/ 3822940 h 6857998"/>
              <a:gd name="connsiteX425" fmla="*/ 5363308 w 9144000"/>
              <a:gd name="connsiteY425" fmla="*/ 3819893 h 6857998"/>
              <a:gd name="connsiteX426" fmla="*/ 5312583 w 9144000"/>
              <a:gd name="connsiteY426" fmla="*/ 3804662 h 6857998"/>
              <a:gd name="connsiteX427" fmla="*/ 5282148 w 9144000"/>
              <a:gd name="connsiteY427" fmla="*/ 3807708 h 6857998"/>
              <a:gd name="connsiteX428" fmla="*/ 5272003 w 9144000"/>
              <a:gd name="connsiteY428" fmla="*/ 3807708 h 6857998"/>
              <a:gd name="connsiteX429" fmla="*/ 5241568 w 9144000"/>
              <a:gd name="connsiteY429" fmla="*/ 3786384 h 6857998"/>
              <a:gd name="connsiteX430" fmla="*/ 5238186 w 9144000"/>
              <a:gd name="connsiteY430" fmla="*/ 3810754 h 6857998"/>
              <a:gd name="connsiteX431" fmla="*/ 5211133 w 9144000"/>
              <a:gd name="connsiteY431" fmla="*/ 3816847 h 6857998"/>
              <a:gd name="connsiteX432" fmla="*/ 5167171 w 9144000"/>
              <a:gd name="connsiteY432" fmla="*/ 3813801 h 6857998"/>
              <a:gd name="connsiteX433" fmla="*/ 5126592 w 9144000"/>
              <a:gd name="connsiteY433" fmla="*/ 3816847 h 6857998"/>
              <a:gd name="connsiteX434" fmla="*/ 5119828 w 9144000"/>
              <a:gd name="connsiteY434" fmla="*/ 3816847 h 6857998"/>
              <a:gd name="connsiteX435" fmla="*/ 5092775 w 9144000"/>
              <a:gd name="connsiteY435" fmla="*/ 3810754 h 6857998"/>
              <a:gd name="connsiteX436" fmla="*/ 5058958 w 9144000"/>
              <a:gd name="connsiteY436" fmla="*/ 3804662 h 6857998"/>
              <a:gd name="connsiteX437" fmla="*/ 4991325 w 9144000"/>
              <a:gd name="connsiteY437" fmla="*/ 3798569 h 6857998"/>
              <a:gd name="connsiteX438" fmla="*/ 4950745 w 9144000"/>
              <a:gd name="connsiteY438" fmla="*/ 3804662 h 6857998"/>
              <a:gd name="connsiteX439" fmla="*/ 4927074 w 9144000"/>
              <a:gd name="connsiteY439" fmla="*/ 3807708 h 6857998"/>
              <a:gd name="connsiteX440" fmla="*/ 4903402 w 9144000"/>
              <a:gd name="connsiteY440" fmla="*/ 3807708 h 6857998"/>
              <a:gd name="connsiteX441" fmla="*/ 4839151 w 9144000"/>
              <a:gd name="connsiteY441" fmla="*/ 3801616 h 6857998"/>
              <a:gd name="connsiteX442" fmla="*/ 4805334 w 9144000"/>
              <a:gd name="connsiteY442" fmla="*/ 3801616 h 6857998"/>
              <a:gd name="connsiteX443" fmla="*/ 4741083 w 9144000"/>
              <a:gd name="connsiteY443" fmla="*/ 3795523 h 6857998"/>
              <a:gd name="connsiteX444" fmla="*/ 4656541 w 9144000"/>
              <a:gd name="connsiteY444" fmla="*/ 3801616 h 6857998"/>
              <a:gd name="connsiteX445" fmla="*/ 4626106 w 9144000"/>
              <a:gd name="connsiteY445" fmla="*/ 3807708 h 6857998"/>
              <a:gd name="connsiteX446" fmla="*/ 4609198 w 9144000"/>
              <a:gd name="connsiteY446" fmla="*/ 3807708 h 6857998"/>
              <a:gd name="connsiteX447" fmla="*/ 4551710 w 9144000"/>
              <a:gd name="connsiteY447" fmla="*/ 3822940 h 6857998"/>
              <a:gd name="connsiteX448" fmla="*/ 4521275 w 9144000"/>
              <a:gd name="connsiteY448" fmla="*/ 3829032 h 6857998"/>
              <a:gd name="connsiteX449" fmla="*/ 4487458 w 9144000"/>
              <a:gd name="connsiteY449" fmla="*/ 3829032 h 6857998"/>
              <a:gd name="connsiteX450" fmla="*/ 4450260 w 9144000"/>
              <a:gd name="connsiteY450" fmla="*/ 3835125 h 6857998"/>
              <a:gd name="connsiteX451" fmla="*/ 4440115 w 9144000"/>
              <a:gd name="connsiteY451" fmla="*/ 3844264 h 6857998"/>
              <a:gd name="connsiteX452" fmla="*/ 4413062 w 9144000"/>
              <a:gd name="connsiteY452" fmla="*/ 3850356 h 6857998"/>
              <a:gd name="connsiteX453" fmla="*/ 4386009 w 9144000"/>
              <a:gd name="connsiteY453" fmla="*/ 3859495 h 6857998"/>
              <a:gd name="connsiteX454" fmla="*/ 4369100 w 9144000"/>
              <a:gd name="connsiteY454" fmla="*/ 3859495 h 6857998"/>
              <a:gd name="connsiteX455" fmla="*/ 4355574 w 9144000"/>
              <a:gd name="connsiteY455" fmla="*/ 3862541 h 6857998"/>
              <a:gd name="connsiteX456" fmla="*/ 4335284 w 9144000"/>
              <a:gd name="connsiteY456" fmla="*/ 3865588 h 6857998"/>
              <a:gd name="connsiteX457" fmla="*/ 4301467 w 9144000"/>
              <a:gd name="connsiteY457" fmla="*/ 3877773 h 6857998"/>
              <a:gd name="connsiteX458" fmla="*/ 4243979 w 9144000"/>
              <a:gd name="connsiteY458" fmla="*/ 3868634 h 6857998"/>
              <a:gd name="connsiteX459" fmla="*/ 4200018 w 9144000"/>
              <a:gd name="connsiteY459" fmla="*/ 3865588 h 6857998"/>
              <a:gd name="connsiteX460" fmla="*/ 4186491 w 9144000"/>
              <a:gd name="connsiteY460" fmla="*/ 3856449 h 6857998"/>
              <a:gd name="connsiteX461" fmla="*/ 4152674 w 9144000"/>
              <a:gd name="connsiteY461" fmla="*/ 3847310 h 6857998"/>
              <a:gd name="connsiteX462" fmla="*/ 4105331 w 9144000"/>
              <a:gd name="connsiteY462" fmla="*/ 3847310 h 6857998"/>
              <a:gd name="connsiteX463" fmla="*/ 4074896 w 9144000"/>
              <a:gd name="connsiteY463" fmla="*/ 3841217 h 6857998"/>
              <a:gd name="connsiteX464" fmla="*/ 4064751 w 9144000"/>
              <a:gd name="connsiteY464" fmla="*/ 3841217 h 6857998"/>
              <a:gd name="connsiteX465" fmla="*/ 4064751 w 9144000"/>
              <a:gd name="connsiteY465" fmla="*/ 3859495 h 6857998"/>
              <a:gd name="connsiteX466" fmla="*/ 4044461 w 9144000"/>
              <a:gd name="connsiteY466" fmla="*/ 3862541 h 6857998"/>
              <a:gd name="connsiteX467" fmla="*/ 4027554 w 9144000"/>
              <a:gd name="connsiteY467" fmla="*/ 3847310 h 6857998"/>
              <a:gd name="connsiteX468" fmla="*/ 4000500 w 9144000"/>
              <a:gd name="connsiteY468" fmla="*/ 3859495 h 6857998"/>
              <a:gd name="connsiteX469" fmla="*/ 3946393 w 9144000"/>
              <a:gd name="connsiteY469" fmla="*/ 3886912 h 6857998"/>
              <a:gd name="connsiteX470" fmla="*/ 3922722 w 9144000"/>
              <a:gd name="connsiteY470" fmla="*/ 3893004 h 6857998"/>
              <a:gd name="connsiteX471" fmla="*/ 3878761 w 9144000"/>
              <a:gd name="connsiteY471" fmla="*/ 3899097 h 6857998"/>
              <a:gd name="connsiteX472" fmla="*/ 3834799 w 9144000"/>
              <a:gd name="connsiteY472" fmla="*/ 3908236 h 6857998"/>
              <a:gd name="connsiteX473" fmla="*/ 3804364 w 9144000"/>
              <a:gd name="connsiteY473" fmla="*/ 3902143 h 6857998"/>
              <a:gd name="connsiteX474" fmla="*/ 3767165 w 9144000"/>
              <a:gd name="connsiteY474" fmla="*/ 3905189 h 6857998"/>
              <a:gd name="connsiteX475" fmla="*/ 3729968 w 9144000"/>
              <a:gd name="connsiteY475" fmla="*/ 3911282 h 6857998"/>
              <a:gd name="connsiteX476" fmla="*/ 3696151 w 9144000"/>
              <a:gd name="connsiteY476" fmla="*/ 3911282 h 6857998"/>
              <a:gd name="connsiteX477" fmla="*/ 3601465 w 9144000"/>
              <a:gd name="connsiteY477" fmla="*/ 3899097 h 6857998"/>
              <a:gd name="connsiteX478" fmla="*/ 3533831 w 9144000"/>
              <a:gd name="connsiteY478" fmla="*/ 3865588 h 6857998"/>
              <a:gd name="connsiteX479" fmla="*/ 3503396 w 9144000"/>
              <a:gd name="connsiteY479" fmla="*/ 3850356 h 6857998"/>
              <a:gd name="connsiteX480" fmla="*/ 3466198 w 9144000"/>
              <a:gd name="connsiteY480" fmla="*/ 3853402 h 6857998"/>
              <a:gd name="connsiteX481" fmla="*/ 3459435 w 9144000"/>
              <a:gd name="connsiteY481" fmla="*/ 3853402 h 6857998"/>
              <a:gd name="connsiteX482" fmla="*/ 3435763 w 9144000"/>
              <a:gd name="connsiteY482" fmla="*/ 3859495 h 6857998"/>
              <a:gd name="connsiteX483" fmla="*/ 3391802 w 9144000"/>
              <a:gd name="connsiteY483" fmla="*/ 3865588 h 6857998"/>
              <a:gd name="connsiteX484" fmla="*/ 3351222 w 9144000"/>
              <a:gd name="connsiteY484" fmla="*/ 3862541 h 6857998"/>
              <a:gd name="connsiteX485" fmla="*/ 3303879 w 9144000"/>
              <a:gd name="connsiteY485" fmla="*/ 3865588 h 6857998"/>
              <a:gd name="connsiteX486" fmla="*/ 3256535 w 9144000"/>
              <a:gd name="connsiteY486" fmla="*/ 3868634 h 6857998"/>
              <a:gd name="connsiteX487" fmla="*/ 3229482 w 9144000"/>
              <a:gd name="connsiteY487" fmla="*/ 3865588 h 6857998"/>
              <a:gd name="connsiteX488" fmla="*/ 3215956 w 9144000"/>
              <a:gd name="connsiteY488" fmla="*/ 3865588 h 6857998"/>
              <a:gd name="connsiteX489" fmla="*/ 3192284 w 9144000"/>
              <a:gd name="connsiteY489" fmla="*/ 3871680 h 6857998"/>
              <a:gd name="connsiteX490" fmla="*/ 3084071 w 9144000"/>
              <a:gd name="connsiteY490" fmla="*/ 3835125 h 6857998"/>
              <a:gd name="connsiteX491" fmla="*/ 3067162 w 9144000"/>
              <a:gd name="connsiteY491" fmla="*/ 3847310 h 6857998"/>
              <a:gd name="connsiteX492" fmla="*/ 3036728 w 9144000"/>
              <a:gd name="connsiteY492" fmla="*/ 3841217 h 6857998"/>
              <a:gd name="connsiteX493" fmla="*/ 3013056 w 9144000"/>
              <a:gd name="connsiteY493" fmla="*/ 3829032 h 6857998"/>
              <a:gd name="connsiteX494" fmla="*/ 2986003 w 9144000"/>
              <a:gd name="connsiteY494" fmla="*/ 3813801 h 6857998"/>
              <a:gd name="connsiteX495" fmla="*/ 2952187 w 9144000"/>
              <a:gd name="connsiteY495" fmla="*/ 3844264 h 6857998"/>
              <a:gd name="connsiteX496" fmla="*/ 2887935 w 9144000"/>
              <a:gd name="connsiteY496" fmla="*/ 3844264 h 6857998"/>
              <a:gd name="connsiteX497" fmla="*/ 2860881 w 9144000"/>
              <a:gd name="connsiteY497" fmla="*/ 3862541 h 6857998"/>
              <a:gd name="connsiteX498" fmla="*/ 2860881 w 9144000"/>
              <a:gd name="connsiteY498" fmla="*/ 3868634 h 6857998"/>
              <a:gd name="connsiteX499" fmla="*/ 2857500 w 9144000"/>
              <a:gd name="connsiteY499" fmla="*/ 3877773 h 6857998"/>
              <a:gd name="connsiteX500" fmla="*/ 2847355 w 9144000"/>
              <a:gd name="connsiteY500" fmla="*/ 3871680 h 6857998"/>
              <a:gd name="connsiteX501" fmla="*/ 2830446 w 9144000"/>
              <a:gd name="connsiteY501" fmla="*/ 3868634 h 6857998"/>
              <a:gd name="connsiteX502" fmla="*/ 2827065 w 9144000"/>
              <a:gd name="connsiteY502" fmla="*/ 3893004 h 6857998"/>
              <a:gd name="connsiteX503" fmla="*/ 2772958 w 9144000"/>
              <a:gd name="connsiteY503" fmla="*/ 3911282 h 6857998"/>
              <a:gd name="connsiteX504" fmla="*/ 2735761 w 9144000"/>
              <a:gd name="connsiteY504" fmla="*/ 3905189 h 6857998"/>
              <a:gd name="connsiteX505" fmla="*/ 2712089 w 9144000"/>
              <a:gd name="connsiteY505" fmla="*/ 3899097 h 6857998"/>
              <a:gd name="connsiteX506" fmla="*/ 2698562 w 9144000"/>
              <a:gd name="connsiteY506" fmla="*/ 3902143 h 6857998"/>
              <a:gd name="connsiteX507" fmla="*/ 2681654 w 9144000"/>
              <a:gd name="connsiteY507" fmla="*/ 3889958 h 6857998"/>
              <a:gd name="connsiteX508" fmla="*/ 2668127 w 9144000"/>
              <a:gd name="connsiteY508" fmla="*/ 3902143 h 6857998"/>
              <a:gd name="connsiteX509" fmla="*/ 2597112 w 9144000"/>
              <a:gd name="connsiteY509" fmla="*/ 3902143 h 6857998"/>
              <a:gd name="connsiteX510" fmla="*/ 2556533 w 9144000"/>
              <a:gd name="connsiteY510" fmla="*/ 3893004 h 6857998"/>
              <a:gd name="connsiteX511" fmla="*/ 2526098 w 9144000"/>
              <a:gd name="connsiteY511" fmla="*/ 3905189 h 6857998"/>
              <a:gd name="connsiteX512" fmla="*/ 2522716 w 9144000"/>
              <a:gd name="connsiteY512" fmla="*/ 3905189 h 6857998"/>
              <a:gd name="connsiteX513" fmla="*/ 2519335 w 9144000"/>
              <a:gd name="connsiteY513" fmla="*/ 3902143 h 6857998"/>
              <a:gd name="connsiteX514" fmla="*/ 2505807 w 9144000"/>
              <a:gd name="connsiteY514" fmla="*/ 3880819 h 6857998"/>
              <a:gd name="connsiteX515" fmla="*/ 2499045 w 9144000"/>
              <a:gd name="connsiteY515" fmla="*/ 3880819 h 6857998"/>
              <a:gd name="connsiteX516" fmla="*/ 2495662 w 9144000"/>
              <a:gd name="connsiteY516" fmla="*/ 3899097 h 6857998"/>
              <a:gd name="connsiteX517" fmla="*/ 2444938 w 9144000"/>
              <a:gd name="connsiteY517" fmla="*/ 3899097 h 6857998"/>
              <a:gd name="connsiteX518" fmla="*/ 2414503 w 9144000"/>
              <a:gd name="connsiteY518" fmla="*/ 3902143 h 6857998"/>
              <a:gd name="connsiteX519" fmla="*/ 2407739 w 9144000"/>
              <a:gd name="connsiteY519" fmla="*/ 3905189 h 6857998"/>
              <a:gd name="connsiteX520" fmla="*/ 2387450 w 9144000"/>
              <a:gd name="connsiteY520" fmla="*/ 3896050 h 6857998"/>
              <a:gd name="connsiteX521" fmla="*/ 2360396 w 9144000"/>
              <a:gd name="connsiteY521" fmla="*/ 3889958 h 6857998"/>
              <a:gd name="connsiteX522" fmla="*/ 2333343 w 9144000"/>
              <a:gd name="connsiteY522" fmla="*/ 3889958 h 6857998"/>
              <a:gd name="connsiteX523" fmla="*/ 2313054 w 9144000"/>
              <a:gd name="connsiteY523" fmla="*/ 3889958 h 6857998"/>
              <a:gd name="connsiteX524" fmla="*/ 2282619 w 9144000"/>
              <a:gd name="connsiteY524" fmla="*/ 3896050 h 6857998"/>
              <a:gd name="connsiteX525" fmla="*/ 2258946 w 9144000"/>
              <a:gd name="connsiteY525" fmla="*/ 3896050 h 6857998"/>
              <a:gd name="connsiteX526" fmla="*/ 2221749 w 9144000"/>
              <a:gd name="connsiteY526" fmla="*/ 3929560 h 6857998"/>
              <a:gd name="connsiteX527" fmla="*/ 2208222 w 9144000"/>
              <a:gd name="connsiteY527" fmla="*/ 3914328 h 6857998"/>
              <a:gd name="connsiteX528" fmla="*/ 2177787 w 9144000"/>
              <a:gd name="connsiteY528" fmla="*/ 3902143 h 6857998"/>
              <a:gd name="connsiteX529" fmla="*/ 2167642 w 9144000"/>
              <a:gd name="connsiteY529" fmla="*/ 3899097 h 6857998"/>
              <a:gd name="connsiteX530" fmla="*/ 2157497 w 9144000"/>
              <a:gd name="connsiteY530" fmla="*/ 3889958 h 6857998"/>
              <a:gd name="connsiteX531" fmla="*/ 2143970 w 9144000"/>
              <a:gd name="connsiteY531" fmla="*/ 3908236 h 6857998"/>
              <a:gd name="connsiteX532" fmla="*/ 2123681 w 9144000"/>
              <a:gd name="connsiteY532" fmla="*/ 3899097 h 6857998"/>
              <a:gd name="connsiteX533" fmla="*/ 2103391 w 9144000"/>
              <a:gd name="connsiteY533" fmla="*/ 3889958 h 6857998"/>
              <a:gd name="connsiteX534" fmla="*/ 2066193 w 9144000"/>
              <a:gd name="connsiteY534" fmla="*/ 3889958 h 6857998"/>
              <a:gd name="connsiteX535" fmla="*/ 2035758 w 9144000"/>
              <a:gd name="connsiteY535" fmla="*/ 3889958 h 6857998"/>
              <a:gd name="connsiteX536" fmla="*/ 1954598 w 9144000"/>
              <a:gd name="connsiteY536" fmla="*/ 3880819 h 6857998"/>
              <a:gd name="connsiteX537" fmla="*/ 1944453 w 9144000"/>
              <a:gd name="connsiteY537" fmla="*/ 3865588 h 6857998"/>
              <a:gd name="connsiteX538" fmla="*/ 1876820 w 9144000"/>
              <a:gd name="connsiteY538" fmla="*/ 3841217 h 6857998"/>
              <a:gd name="connsiteX539" fmla="*/ 1853148 w 9144000"/>
              <a:gd name="connsiteY539" fmla="*/ 3844264 h 6857998"/>
              <a:gd name="connsiteX540" fmla="*/ 1822713 w 9144000"/>
              <a:gd name="connsiteY540" fmla="*/ 3841217 h 6857998"/>
              <a:gd name="connsiteX541" fmla="*/ 1778752 w 9144000"/>
              <a:gd name="connsiteY541" fmla="*/ 3801616 h 6857998"/>
              <a:gd name="connsiteX542" fmla="*/ 1744935 w 9144000"/>
              <a:gd name="connsiteY542" fmla="*/ 3777245 h 6857998"/>
              <a:gd name="connsiteX543" fmla="*/ 1724645 w 9144000"/>
              <a:gd name="connsiteY543" fmla="*/ 3780292 h 6857998"/>
              <a:gd name="connsiteX544" fmla="*/ 1640104 w 9144000"/>
              <a:gd name="connsiteY544" fmla="*/ 3719366 h 6857998"/>
              <a:gd name="connsiteX545" fmla="*/ 1626577 w 9144000"/>
              <a:gd name="connsiteY545" fmla="*/ 3743736 h 6857998"/>
              <a:gd name="connsiteX546" fmla="*/ 1609669 w 9144000"/>
              <a:gd name="connsiteY546" fmla="*/ 3758968 h 6857998"/>
              <a:gd name="connsiteX547" fmla="*/ 1599524 w 9144000"/>
              <a:gd name="connsiteY547" fmla="*/ 3758968 h 6857998"/>
              <a:gd name="connsiteX548" fmla="*/ 1599524 w 9144000"/>
              <a:gd name="connsiteY548" fmla="*/ 3780292 h 6857998"/>
              <a:gd name="connsiteX549" fmla="*/ 1575852 w 9144000"/>
              <a:gd name="connsiteY549" fmla="*/ 3780292 h 6857998"/>
              <a:gd name="connsiteX550" fmla="*/ 1525127 w 9144000"/>
              <a:gd name="connsiteY550" fmla="*/ 3780292 h 6857998"/>
              <a:gd name="connsiteX551" fmla="*/ 1474403 w 9144000"/>
              <a:gd name="connsiteY551" fmla="*/ 3786384 h 6857998"/>
              <a:gd name="connsiteX552" fmla="*/ 1410151 w 9144000"/>
              <a:gd name="connsiteY552" fmla="*/ 3792477 h 6857998"/>
              <a:gd name="connsiteX553" fmla="*/ 1312083 w 9144000"/>
              <a:gd name="connsiteY553" fmla="*/ 3786384 h 6857998"/>
              <a:gd name="connsiteX554" fmla="*/ 1264740 w 9144000"/>
              <a:gd name="connsiteY554" fmla="*/ 3783338 h 6857998"/>
              <a:gd name="connsiteX555" fmla="*/ 1234305 w 9144000"/>
              <a:gd name="connsiteY555" fmla="*/ 3780292 h 6857998"/>
              <a:gd name="connsiteX556" fmla="*/ 1207252 w 9144000"/>
              <a:gd name="connsiteY556" fmla="*/ 3777245 h 6857998"/>
              <a:gd name="connsiteX557" fmla="*/ 1180198 w 9144000"/>
              <a:gd name="connsiteY557" fmla="*/ 3783338 h 6857998"/>
              <a:gd name="connsiteX558" fmla="*/ 1119329 w 9144000"/>
              <a:gd name="connsiteY558" fmla="*/ 3755921 h 6857998"/>
              <a:gd name="connsiteX559" fmla="*/ 1055077 w 9144000"/>
              <a:gd name="connsiteY559" fmla="*/ 3752875 h 6857998"/>
              <a:gd name="connsiteX560" fmla="*/ 1021261 w 9144000"/>
              <a:gd name="connsiteY560" fmla="*/ 3752875 h 6857998"/>
              <a:gd name="connsiteX561" fmla="*/ 875849 w 9144000"/>
              <a:gd name="connsiteY561" fmla="*/ 3746782 h 6857998"/>
              <a:gd name="connsiteX562" fmla="*/ 808216 w 9144000"/>
              <a:gd name="connsiteY562" fmla="*/ 3746782 h 6857998"/>
              <a:gd name="connsiteX563" fmla="*/ 801453 w 9144000"/>
              <a:gd name="connsiteY563" fmla="*/ 3746782 h 6857998"/>
              <a:gd name="connsiteX564" fmla="*/ 787926 w 9144000"/>
              <a:gd name="connsiteY564" fmla="*/ 3749829 h 6857998"/>
              <a:gd name="connsiteX565" fmla="*/ 774400 w 9144000"/>
              <a:gd name="connsiteY565" fmla="*/ 3752875 h 6857998"/>
              <a:gd name="connsiteX566" fmla="*/ 750728 w 9144000"/>
              <a:gd name="connsiteY566" fmla="*/ 3746782 h 6857998"/>
              <a:gd name="connsiteX567" fmla="*/ 737201 w 9144000"/>
              <a:gd name="connsiteY567" fmla="*/ 3743736 h 6857998"/>
              <a:gd name="connsiteX568" fmla="*/ 720293 w 9144000"/>
              <a:gd name="connsiteY568" fmla="*/ 3786384 h 6857998"/>
              <a:gd name="connsiteX569" fmla="*/ 700003 w 9144000"/>
              <a:gd name="connsiteY569" fmla="*/ 3789430 h 6857998"/>
              <a:gd name="connsiteX570" fmla="*/ 669568 w 9144000"/>
              <a:gd name="connsiteY570" fmla="*/ 3783338 h 6857998"/>
              <a:gd name="connsiteX571" fmla="*/ 652660 w 9144000"/>
              <a:gd name="connsiteY571" fmla="*/ 3795523 h 6857998"/>
              <a:gd name="connsiteX572" fmla="*/ 622225 w 9144000"/>
              <a:gd name="connsiteY572" fmla="*/ 3810754 h 6857998"/>
              <a:gd name="connsiteX573" fmla="*/ 612080 w 9144000"/>
              <a:gd name="connsiteY573" fmla="*/ 3792477 h 6857998"/>
              <a:gd name="connsiteX574" fmla="*/ 564737 w 9144000"/>
              <a:gd name="connsiteY574" fmla="*/ 3792477 h 6857998"/>
              <a:gd name="connsiteX575" fmla="*/ 524157 w 9144000"/>
              <a:gd name="connsiteY575" fmla="*/ 3789430 h 6857998"/>
              <a:gd name="connsiteX576" fmla="*/ 483577 w 9144000"/>
              <a:gd name="connsiteY576" fmla="*/ 3786384 h 6857998"/>
              <a:gd name="connsiteX577" fmla="*/ 459905 w 9144000"/>
              <a:gd name="connsiteY577" fmla="*/ 3789430 h 6857998"/>
              <a:gd name="connsiteX578" fmla="*/ 453142 w 9144000"/>
              <a:gd name="connsiteY578" fmla="*/ 3792477 h 6857998"/>
              <a:gd name="connsiteX579" fmla="*/ 426089 w 9144000"/>
              <a:gd name="connsiteY579" fmla="*/ 3783338 h 6857998"/>
              <a:gd name="connsiteX580" fmla="*/ 399036 w 9144000"/>
              <a:gd name="connsiteY580" fmla="*/ 3792477 h 6857998"/>
              <a:gd name="connsiteX581" fmla="*/ 371982 w 9144000"/>
              <a:gd name="connsiteY581" fmla="*/ 3792477 h 6857998"/>
              <a:gd name="connsiteX582" fmla="*/ 344929 w 9144000"/>
              <a:gd name="connsiteY582" fmla="*/ 3792477 h 6857998"/>
              <a:gd name="connsiteX583" fmla="*/ 321257 w 9144000"/>
              <a:gd name="connsiteY583" fmla="*/ 3798569 h 6857998"/>
              <a:gd name="connsiteX584" fmla="*/ 300967 w 9144000"/>
              <a:gd name="connsiteY584" fmla="*/ 3810754 h 6857998"/>
              <a:gd name="connsiteX585" fmla="*/ 240098 w 9144000"/>
              <a:gd name="connsiteY585" fmla="*/ 3816847 h 6857998"/>
              <a:gd name="connsiteX586" fmla="*/ 179228 w 9144000"/>
              <a:gd name="connsiteY586" fmla="*/ 3819893 h 6857998"/>
              <a:gd name="connsiteX587" fmla="*/ 148793 w 9144000"/>
              <a:gd name="connsiteY587" fmla="*/ 3825986 h 6857998"/>
              <a:gd name="connsiteX588" fmla="*/ 111595 w 9144000"/>
              <a:gd name="connsiteY588" fmla="*/ 3829032 h 6857998"/>
              <a:gd name="connsiteX589" fmla="*/ 84541 w 9144000"/>
              <a:gd name="connsiteY589" fmla="*/ 3835125 h 6857998"/>
              <a:gd name="connsiteX590" fmla="*/ 57488 w 9144000"/>
              <a:gd name="connsiteY590" fmla="*/ 3832078 h 6857998"/>
              <a:gd name="connsiteX591" fmla="*/ 47343 w 9144000"/>
              <a:gd name="connsiteY591" fmla="*/ 3835125 h 6857998"/>
              <a:gd name="connsiteX592" fmla="*/ 13527 w 9144000"/>
              <a:gd name="connsiteY592" fmla="*/ 3832078 h 6857998"/>
              <a:gd name="connsiteX593" fmla="*/ 0 w 9144000"/>
              <a:gd name="connsiteY593" fmla="*/ 3822940 h 6857998"/>
              <a:gd name="connsiteX594" fmla="*/ 0 w 9144000"/>
              <a:gd name="connsiteY594" fmla="*/ 3652348 h 6857998"/>
              <a:gd name="connsiteX595" fmla="*/ 0 w 9144000"/>
              <a:gd name="connsiteY595" fmla="*/ 3592414 h 6857998"/>
              <a:gd name="connsiteX596" fmla="*/ 0 w 9144000"/>
              <a:gd name="connsiteY596" fmla="*/ 3557913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</a:cxnLst>
            <a:rect l="l" t="t" r="r" b="b"/>
            <a:pathLst>
              <a:path w="9144000" h="6857998">
                <a:moveTo>
                  <a:pt x="1278689" y="6003571"/>
                </a:moveTo>
                <a:cubicBezTo>
                  <a:pt x="1281648" y="6002048"/>
                  <a:pt x="1285030" y="6002048"/>
                  <a:pt x="1288411" y="6005094"/>
                </a:cubicBezTo>
                <a:cubicBezTo>
                  <a:pt x="1301938" y="6020325"/>
                  <a:pt x="1315465" y="6035557"/>
                  <a:pt x="1325610" y="6050788"/>
                </a:cubicBezTo>
                <a:cubicBezTo>
                  <a:pt x="1352663" y="6062973"/>
                  <a:pt x="1372953" y="6056881"/>
                  <a:pt x="1393243" y="6047742"/>
                </a:cubicBezTo>
                <a:cubicBezTo>
                  <a:pt x="1403388" y="6050788"/>
                  <a:pt x="1416914" y="6053834"/>
                  <a:pt x="1423678" y="6056881"/>
                </a:cubicBezTo>
                <a:cubicBezTo>
                  <a:pt x="1433823" y="6062973"/>
                  <a:pt x="1440586" y="6072112"/>
                  <a:pt x="1450731" y="6078205"/>
                </a:cubicBezTo>
                <a:cubicBezTo>
                  <a:pt x="1454113" y="6081251"/>
                  <a:pt x="1457494" y="6084297"/>
                  <a:pt x="1464258" y="6084297"/>
                </a:cubicBezTo>
                <a:cubicBezTo>
                  <a:pt x="1481166" y="6090390"/>
                  <a:pt x="1498074" y="6096482"/>
                  <a:pt x="1518364" y="6090390"/>
                </a:cubicBezTo>
                <a:cubicBezTo>
                  <a:pt x="1521746" y="6090390"/>
                  <a:pt x="1528509" y="6090390"/>
                  <a:pt x="1535272" y="6090390"/>
                </a:cubicBezTo>
                <a:cubicBezTo>
                  <a:pt x="1538654" y="6096482"/>
                  <a:pt x="1542036" y="6099529"/>
                  <a:pt x="1545417" y="6102575"/>
                </a:cubicBezTo>
                <a:cubicBezTo>
                  <a:pt x="1555562" y="6117806"/>
                  <a:pt x="1565707" y="6133038"/>
                  <a:pt x="1585997" y="6136084"/>
                </a:cubicBezTo>
                <a:cubicBezTo>
                  <a:pt x="1592761" y="6136084"/>
                  <a:pt x="1596142" y="6139130"/>
                  <a:pt x="1599524" y="6142177"/>
                </a:cubicBezTo>
                <a:cubicBezTo>
                  <a:pt x="1609669" y="6148269"/>
                  <a:pt x="1616432" y="6157408"/>
                  <a:pt x="1629959" y="6163501"/>
                </a:cubicBezTo>
                <a:cubicBezTo>
                  <a:pt x="1633340" y="6166547"/>
                  <a:pt x="1646867" y="6166547"/>
                  <a:pt x="1653630" y="6169593"/>
                </a:cubicBezTo>
                <a:cubicBezTo>
                  <a:pt x="1660394" y="6175686"/>
                  <a:pt x="1663775" y="6187871"/>
                  <a:pt x="1670539" y="6193963"/>
                </a:cubicBezTo>
                <a:cubicBezTo>
                  <a:pt x="1694210" y="6200056"/>
                  <a:pt x="1717882" y="6206149"/>
                  <a:pt x="1744935" y="6215287"/>
                </a:cubicBezTo>
                <a:cubicBezTo>
                  <a:pt x="1748317" y="6215287"/>
                  <a:pt x="1755080" y="6218334"/>
                  <a:pt x="1758462" y="6221380"/>
                </a:cubicBezTo>
                <a:cubicBezTo>
                  <a:pt x="1775370" y="6230519"/>
                  <a:pt x="1795660" y="6230519"/>
                  <a:pt x="1815950" y="6233565"/>
                </a:cubicBezTo>
                <a:cubicBezTo>
                  <a:pt x="1822713" y="6236611"/>
                  <a:pt x="1829477" y="6230519"/>
                  <a:pt x="1832858" y="6224426"/>
                </a:cubicBezTo>
                <a:cubicBezTo>
                  <a:pt x="1836240" y="6227473"/>
                  <a:pt x="1839621" y="6230519"/>
                  <a:pt x="1843003" y="6230519"/>
                </a:cubicBezTo>
                <a:cubicBezTo>
                  <a:pt x="1863293" y="6239658"/>
                  <a:pt x="1883583" y="6245750"/>
                  <a:pt x="1903873" y="6254889"/>
                </a:cubicBezTo>
                <a:cubicBezTo>
                  <a:pt x="1907255" y="6257935"/>
                  <a:pt x="1914018" y="6257935"/>
                  <a:pt x="1917400" y="6254889"/>
                </a:cubicBezTo>
                <a:cubicBezTo>
                  <a:pt x="1937690" y="6245750"/>
                  <a:pt x="1957979" y="6251843"/>
                  <a:pt x="1974888" y="6254889"/>
                </a:cubicBezTo>
                <a:cubicBezTo>
                  <a:pt x="1988414" y="6254889"/>
                  <a:pt x="2001941" y="6254889"/>
                  <a:pt x="2012086" y="6254889"/>
                </a:cubicBezTo>
                <a:cubicBezTo>
                  <a:pt x="2032376" y="6251843"/>
                  <a:pt x="2049284" y="6245750"/>
                  <a:pt x="2066192" y="6248797"/>
                </a:cubicBezTo>
                <a:cubicBezTo>
                  <a:pt x="2093246" y="6248797"/>
                  <a:pt x="2116917" y="6245750"/>
                  <a:pt x="2137207" y="6239658"/>
                </a:cubicBezTo>
                <a:cubicBezTo>
                  <a:pt x="2164261" y="6233565"/>
                  <a:pt x="2191314" y="6230519"/>
                  <a:pt x="2218367" y="6242704"/>
                </a:cubicBezTo>
                <a:cubicBezTo>
                  <a:pt x="2221749" y="6242704"/>
                  <a:pt x="2228513" y="6242704"/>
                  <a:pt x="2231895" y="6245750"/>
                </a:cubicBezTo>
                <a:cubicBezTo>
                  <a:pt x="2248802" y="6254889"/>
                  <a:pt x="2265710" y="6254889"/>
                  <a:pt x="2282619" y="6251843"/>
                </a:cubicBezTo>
                <a:cubicBezTo>
                  <a:pt x="2299527" y="6251843"/>
                  <a:pt x="2316436" y="6251843"/>
                  <a:pt x="2336725" y="6257935"/>
                </a:cubicBezTo>
                <a:cubicBezTo>
                  <a:pt x="2340107" y="6257935"/>
                  <a:pt x="2343489" y="6257935"/>
                  <a:pt x="2346871" y="6254889"/>
                </a:cubicBezTo>
                <a:cubicBezTo>
                  <a:pt x="2350253" y="6254889"/>
                  <a:pt x="2357015" y="6251843"/>
                  <a:pt x="2360397" y="6251843"/>
                </a:cubicBezTo>
                <a:cubicBezTo>
                  <a:pt x="2363778" y="6254889"/>
                  <a:pt x="2367160" y="6254889"/>
                  <a:pt x="2367160" y="6254889"/>
                </a:cubicBezTo>
                <a:cubicBezTo>
                  <a:pt x="2380688" y="6270120"/>
                  <a:pt x="2394213" y="6276213"/>
                  <a:pt x="2417885" y="6276213"/>
                </a:cubicBezTo>
                <a:cubicBezTo>
                  <a:pt x="2455083" y="6276213"/>
                  <a:pt x="2495664" y="6279259"/>
                  <a:pt x="2536244" y="6282306"/>
                </a:cubicBezTo>
                <a:cubicBezTo>
                  <a:pt x="2536244" y="6282306"/>
                  <a:pt x="2539624" y="6279259"/>
                  <a:pt x="2539624" y="6279259"/>
                </a:cubicBezTo>
                <a:cubicBezTo>
                  <a:pt x="2576823" y="6276213"/>
                  <a:pt x="2614022" y="6273167"/>
                  <a:pt x="2647838" y="6282306"/>
                </a:cubicBezTo>
                <a:cubicBezTo>
                  <a:pt x="2664746" y="6288398"/>
                  <a:pt x="2678273" y="6291444"/>
                  <a:pt x="2695181" y="6294491"/>
                </a:cubicBezTo>
                <a:cubicBezTo>
                  <a:pt x="2698563" y="6294491"/>
                  <a:pt x="2705326" y="6297537"/>
                  <a:pt x="2708707" y="6294491"/>
                </a:cubicBezTo>
                <a:cubicBezTo>
                  <a:pt x="2722234" y="6291444"/>
                  <a:pt x="2735761" y="6285352"/>
                  <a:pt x="2752669" y="6288398"/>
                </a:cubicBezTo>
                <a:cubicBezTo>
                  <a:pt x="2766196" y="6276213"/>
                  <a:pt x="2783104" y="6282306"/>
                  <a:pt x="2796631" y="6288398"/>
                </a:cubicBezTo>
                <a:cubicBezTo>
                  <a:pt x="2800013" y="6291444"/>
                  <a:pt x="2803395" y="6291444"/>
                  <a:pt x="2810157" y="6291444"/>
                </a:cubicBezTo>
                <a:cubicBezTo>
                  <a:pt x="2813539" y="6279259"/>
                  <a:pt x="2816921" y="6264028"/>
                  <a:pt x="2820302" y="6248797"/>
                </a:cubicBezTo>
                <a:cubicBezTo>
                  <a:pt x="2823684" y="6248797"/>
                  <a:pt x="2830448" y="6245750"/>
                  <a:pt x="2833830" y="6245750"/>
                </a:cubicBezTo>
                <a:cubicBezTo>
                  <a:pt x="2847356" y="6248797"/>
                  <a:pt x="2860883" y="6248797"/>
                  <a:pt x="2877790" y="6251843"/>
                </a:cubicBezTo>
                <a:cubicBezTo>
                  <a:pt x="2881172" y="6245750"/>
                  <a:pt x="2884554" y="6236611"/>
                  <a:pt x="2891318" y="6236611"/>
                </a:cubicBezTo>
                <a:cubicBezTo>
                  <a:pt x="2901462" y="6233565"/>
                  <a:pt x="2908225" y="6227473"/>
                  <a:pt x="2921753" y="6224426"/>
                </a:cubicBezTo>
                <a:cubicBezTo>
                  <a:pt x="2925133" y="6230519"/>
                  <a:pt x="2928515" y="6236611"/>
                  <a:pt x="2935278" y="6242704"/>
                </a:cubicBezTo>
                <a:cubicBezTo>
                  <a:pt x="2942042" y="6242704"/>
                  <a:pt x="2945424" y="6239658"/>
                  <a:pt x="2952188" y="6239658"/>
                </a:cubicBezTo>
                <a:cubicBezTo>
                  <a:pt x="2962333" y="6239658"/>
                  <a:pt x="2975859" y="6242704"/>
                  <a:pt x="2986003" y="6245750"/>
                </a:cubicBezTo>
                <a:cubicBezTo>
                  <a:pt x="2996148" y="6248797"/>
                  <a:pt x="3009676" y="6239658"/>
                  <a:pt x="3019820" y="6242704"/>
                </a:cubicBezTo>
                <a:cubicBezTo>
                  <a:pt x="3040111" y="6251843"/>
                  <a:pt x="3063782" y="6248797"/>
                  <a:pt x="3080689" y="6245750"/>
                </a:cubicBezTo>
                <a:cubicBezTo>
                  <a:pt x="3090835" y="6242704"/>
                  <a:pt x="3097599" y="6239658"/>
                  <a:pt x="3104361" y="6245750"/>
                </a:cubicBezTo>
                <a:cubicBezTo>
                  <a:pt x="3111124" y="6251843"/>
                  <a:pt x="3121270" y="6251843"/>
                  <a:pt x="3128034" y="6245750"/>
                </a:cubicBezTo>
                <a:cubicBezTo>
                  <a:pt x="3134796" y="6245750"/>
                  <a:pt x="3138179" y="6242704"/>
                  <a:pt x="3144941" y="6242704"/>
                </a:cubicBezTo>
                <a:cubicBezTo>
                  <a:pt x="3151705" y="6242704"/>
                  <a:pt x="3165232" y="6242704"/>
                  <a:pt x="3171994" y="6242704"/>
                </a:cubicBezTo>
                <a:cubicBezTo>
                  <a:pt x="3182140" y="6239658"/>
                  <a:pt x="3192284" y="6239658"/>
                  <a:pt x="3202429" y="6242704"/>
                </a:cubicBezTo>
                <a:cubicBezTo>
                  <a:pt x="3212575" y="6248797"/>
                  <a:pt x="3219338" y="6245750"/>
                  <a:pt x="3229482" y="6236611"/>
                </a:cubicBezTo>
                <a:cubicBezTo>
                  <a:pt x="3246391" y="6215287"/>
                  <a:pt x="3270063" y="6212241"/>
                  <a:pt x="3297116" y="6215287"/>
                </a:cubicBezTo>
                <a:cubicBezTo>
                  <a:pt x="3320787" y="6218334"/>
                  <a:pt x="3344460" y="6224426"/>
                  <a:pt x="3364749" y="6212241"/>
                </a:cubicBezTo>
                <a:cubicBezTo>
                  <a:pt x="3374895" y="6206149"/>
                  <a:pt x="3388421" y="6206149"/>
                  <a:pt x="3401948" y="6209195"/>
                </a:cubicBezTo>
                <a:cubicBezTo>
                  <a:pt x="3405330" y="6209195"/>
                  <a:pt x="3415474" y="6212241"/>
                  <a:pt x="3418856" y="6209195"/>
                </a:cubicBezTo>
                <a:cubicBezTo>
                  <a:pt x="3429001" y="6200056"/>
                  <a:pt x="3445909" y="6209195"/>
                  <a:pt x="3452672" y="6203102"/>
                </a:cubicBezTo>
                <a:cubicBezTo>
                  <a:pt x="3466198" y="6190917"/>
                  <a:pt x="3476345" y="6200056"/>
                  <a:pt x="3486489" y="6200056"/>
                </a:cubicBezTo>
                <a:cubicBezTo>
                  <a:pt x="3489871" y="6203102"/>
                  <a:pt x="3496633" y="6200056"/>
                  <a:pt x="3500015" y="6197010"/>
                </a:cubicBezTo>
                <a:cubicBezTo>
                  <a:pt x="3510160" y="6193963"/>
                  <a:pt x="3516924" y="6197010"/>
                  <a:pt x="3527068" y="6200056"/>
                </a:cubicBezTo>
                <a:cubicBezTo>
                  <a:pt x="3530450" y="6203102"/>
                  <a:pt x="3533833" y="6203102"/>
                  <a:pt x="3540595" y="6206149"/>
                </a:cubicBezTo>
                <a:cubicBezTo>
                  <a:pt x="3564268" y="6203102"/>
                  <a:pt x="3587938" y="6197010"/>
                  <a:pt x="3611611" y="6193963"/>
                </a:cubicBezTo>
                <a:cubicBezTo>
                  <a:pt x="3618373" y="6190917"/>
                  <a:pt x="3631900" y="6190917"/>
                  <a:pt x="3638664" y="6193963"/>
                </a:cubicBezTo>
                <a:cubicBezTo>
                  <a:pt x="3658953" y="6206149"/>
                  <a:pt x="3682624" y="6206149"/>
                  <a:pt x="3706296" y="6203102"/>
                </a:cubicBezTo>
                <a:cubicBezTo>
                  <a:pt x="3713059" y="6193963"/>
                  <a:pt x="3719823" y="6181778"/>
                  <a:pt x="3736732" y="6184825"/>
                </a:cubicBezTo>
                <a:cubicBezTo>
                  <a:pt x="3753640" y="6175686"/>
                  <a:pt x="3767167" y="6181778"/>
                  <a:pt x="3780693" y="6187871"/>
                </a:cubicBezTo>
                <a:cubicBezTo>
                  <a:pt x="3797602" y="6193963"/>
                  <a:pt x="3814510" y="6197010"/>
                  <a:pt x="3831417" y="6203102"/>
                </a:cubicBezTo>
                <a:cubicBezTo>
                  <a:pt x="3841563" y="6206149"/>
                  <a:pt x="3851707" y="6209195"/>
                  <a:pt x="3861852" y="6200056"/>
                </a:cubicBezTo>
                <a:cubicBezTo>
                  <a:pt x="3865234" y="6200056"/>
                  <a:pt x="3868616" y="6200056"/>
                  <a:pt x="3871998" y="6200056"/>
                </a:cubicBezTo>
                <a:cubicBezTo>
                  <a:pt x="3882143" y="6206149"/>
                  <a:pt x="3888905" y="6218334"/>
                  <a:pt x="3902433" y="6221380"/>
                </a:cubicBezTo>
                <a:cubicBezTo>
                  <a:pt x="3902433" y="6212241"/>
                  <a:pt x="3899051" y="6203102"/>
                  <a:pt x="3905814" y="6197010"/>
                </a:cubicBezTo>
                <a:cubicBezTo>
                  <a:pt x="3915960" y="6187871"/>
                  <a:pt x="3926104" y="6187871"/>
                  <a:pt x="3932867" y="6190917"/>
                </a:cubicBezTo>
                <a:cubicBezTo>
                  <a:pt x="3946395" y="6197010"/>
                  <a:pt x="3963302" y="6193963"/>
                  <a:pt x="3976830" y="6193963"/>
                </a:cubicBezTo>
                <a:cubicBezTo>
                  <a:pt x="3990356" y="6193963"/>
                  <a:pt x="4003883" y="6197010"/>
                  <a:pt x="4017409" y="6190917"/>
                </a:cubicBezTo>
                <a:cubicBezTo>
                  <a:pt x="4017409" y="6190917"/>
                  <a:pt x="4024172" y="6190917"/>
                  <a:pt x="4024172" y="6190917"/>
                </a:cubicBezTo>
                <a:cubicBezTo>
                  <a:pt x="4034318" y="6193963"/>
                  <a:pt x="4041080" y="6197010"/>
                  <a:pt x="4051225" y="6197010"/>
                </a:cubicBezTo>
                <a:cubicBezTo>
                  <a:pt x="4061371" y="6197010"/>
                  <a:pt x="4071515" y="6200056"/>
                  <a:pt x="4085042" y="6203102"/>
                </a:cubicBezTo>
                <a:cubicBezTo>
                  <a:pt x="4105333" y="6212241"/>
                  <a:pt x="4129003" y="6218334"/>
                  <a:pt x="4152676" y="6209195"/>
                </a:cubicBezTo>
                <a:cubicBezTo>
                  <a:pt x="4166201" y="6212241"/>
                  <a:pt x="4179729" y="6212241"/>
                  <a:pt x="4193256" y="6203102"/>
                </a:cubicBezTo>
                <a:cubicBezTo>
                  <a:pt x="4200018" y="6200056"/>
                  <a:pt x="4210163" y="6200056"/>
                  <a:pt x="4216926" y="6200056"/>
                </a:cubicBezTo>
                <a:cubicBezTo>
                  <a:pt x="4227071" y="6200056"/>
                  <a:pt x="4233835" y="6200056"/>
                  <a:pt x="4240598" y="6200056"/>
                </a:cubicBezTo>
                <a:cubicBezTo>
                  <a:pt x="4260888" y="6203102"/>
                  <a:pt x="4284559" y="6200056"/>
                  <a:pt x="4304849" y="6206149"/>
                </a:cubicBezTo>
                <a:cubicBezTo>
                  <a:pt x="4314994" y="6209195"/>
                  <a:pt x="4325139" y="6206149"/>
                  <a:pt x="4338666" y="6206149"/>
                </a:cubicBezTo>
                <a:cubicBezTo>
                  <a:pt x="4358956" y="6200056"/>
                  <a:pt x="4379246" y="6206149"/>
                  <a:pt x="4402917" y="6212241"/>
                </a:cubicBezTo>
                <a:cubicBezTo>
                  <a:pt x="4429971" y="6215287"/>
                  <a:pt x="4460406" y="6212241"/>
                  <a:pt x="4487459" y="6206149"/>
                </a:cubicBezTo>
                <a:cubicBezTo>
                  <a:pt x="4497604" y="6203102"/>
                  <a:pt x="4507749" y="6200056"/>
                  <a:pt x="4517894" y="6200056"/>
                </a:cubicBezTo>
                <a:cubicBezTo>
                  <a:pt x="4524657" y="6203102"/>
                  <a:pt x="4528039" y="6200056"/>
                  <a:pt x="4534802" y="6200056"/>
                </a:cubicBezTo>
                <a:cubicBezTo>
                  <a:pt x="4555092" y="6193963"/>
                  <a:pt x="4572000" y="6184825"/>
                  <a:pt x="4592290" y="6184825"/>
                </a:cubicBezTo>
                <a:cubicBezTo>
                  <a:pt x="4602435" y="6172639"/>
                  <a:pt x="4612580" y="6184825"/>
                  <a:pt x="4622725" y="6178732"/>
                </a:cubicBezTo>
                <a:cubicBezTo>
                  <a:pt x="4636252" y="6175686"/>
                  <a:pt x="4646397" y="6175686"/>
                  <a:pt x="4656542" y="6178732"/>
                </a:cubicBezTo>
                <a:cubicBezTo>
                  <a:pt x="4670068" y="6184825"/>
                  <a:pt x="4683595" y="6181778"/>
                  <a:pt x="4693740" y="6172639"/>
                </a:cubicBezTo>
                <a:cubicBezTo>
                  <a:pt x="4697122" y="6166547"/>
                  <a:pt x="4700503" y="6163501"/>
                  <a:pt x="4703885" y="6163501"/>
                </a:cubicBezTo>
                <a:cubicBezTo>
                  <a:pt x="4714030" y="6160454"/>
                  <a:pt x="4724175" y="6157408"/>
                  <a:pt x="4730938" y="6157408"/>
                </a:cubicBezTo>
                <a:cubicBezTo>
                  <a:pt x="4744465" y="6160454"/>
                  <a:pt x="4751228" y="6151315"/>
                  <a:pt x="4757991" y="6148269"/>
                </a:cubicBezTo>
                <a:cubicBezTo>
                  <a:pt x="4764755" y="6148269"/>
                  <a:pt x="4768136" y="6148269"/>
                  <a:pt x="4774900" y="6148269"/>
                </a:cubicBezTo>
                <a:cubicBezTo>
                  <a:pt x="4781663" y="6151315"/>
                  <a:pt x="4785045" y="6148269"/>
                  <a:pt x="4788426" y="6145223"/>
                </a:cubicBezTo>
                <a:cubicBezTo>
                  <a:pt x="4795190" y="6142177"/>
                  <a:pt x="4801953" y="6142177"/>
                  <a:pt x="4808716" y="6142177"/>
                </a:cubicBezTo>
                <a:cubicBezTo>
                  <a:pt x="4822243" y="6142177"/>
                  <a:pt x="4835769" y="6139130"/>
                  <a:pt x="4842533" y="6129991"/>
                </a:cubicBezTo>
                <a:cubicBezTo>
                  <a:pt x="4862823" y="6133038"/>
                  <a:pt x="4883113" y="6139130"/>
                  <a:pt x="4900021" y="6139130"/>
                </a:cubicBezTo>
                <a:cubicBezTo>
                  <a:pt x="4913548" y="6142177"/>
                  <a:pt x="4927074" y="6148269"/>
                  <a:pt x="4943982" y="6142177"/>
                </a:cubicBezTo>
                <a:cubicBezTo>
                  <a:pt x="4947364" y="6142177"/>
                  <a:pt x="4954127" y="6148269"/>
                  <a:pt x="4957509" y="6151315"/>
                </a:cubicBezTo>
                <a:cubicBezTo>
                  <a:pt x="4967654" y="6160454"/>
                  <a:pt x="4977799" y="6163501"/>
                  <a:pt x="4991326" y="6160454"/>
                </a:cubicBezTo>
                <a:cubicBezTo>
                  <a:pt x="5008234" y="6154362"/>
                  <a:pt x="5021761" y="6154362"/>
                  <a:pt x="5038669" y="6160454"/>
                </a:cubicBezTo>
                <a:cubicBezTo>
                  <a:pt x="5048814" y="6163501"/>
                  <a:pt x="5055577" y="6163501"/>
                  <a:pt x="5069104" y="6166547"/>
                </a:cubicBezTo>
                <a:cubicBezTo>
                  <a:pt x="5072485" y="6166547"/>
                  <a:pt x="5072485" y="6166547"/>
                  <a:pt x="5079249" y="6166547"/>
                </a:cubicBezTo>
                <a:cubicBezTo>
                  <a:pt x="5079249" y="6160454"/>
                  <a:pt x="5079249" y="6154362"/>
                  <a:pt x="5079249" y="6148269"/>
                </a:cubicBezTo>
                <a:cubicBezTo>
                  <a:pt x="5086012" y="6148269"/>
                  <a:pt x="5092775" y="6145223"/>
                  <a:pt x="5099539" y="6145223"/>
                </a:cubicBezTo>
                <a:cubicBezTo>
                  <a:pt x="5102920" y="6148269"/>
                  <a:pt x="5109684" y="6154362"/>
                  <a:pt x="5116447" y="6160454"/>
                </a:cubicBezTo>
                <a:cubicBezTo>
                  <a:pt x="5126592" y="6154362"/>
                  <a:pt x="5133355" y="6145223"/>
                  <a:pt x="5143500" y="6148269"/>
                </a:cubicBezTo>
                <a:cubicBezTo>
                  <a:pt x="5160409" y="6139130"/>
                  <a:pt x="5180698" y="6139130"/>
                  <a:pt x="5197607" y="6120853"/>
                </a:cubicBezTo>
                <a:cubicBezTo>
                  <a:pt x="5200988" y="6117806"/>
                  <a:pt x="5211133" y="6111714"/>
                  <a:pt x="5221278" y="6114760"/>
                </a:cubicBezTo>
                <a:cubicBezTo>
                  <a:pt x="5234805" y="6117806"/>
                  <a:pt x="5251713" y="6111714"/>
                  <a:pt x="5265240" y="6108667"/>
                </a:cubicBezTo>
                <a:cubicBezTo>
                  <a:pt x="5278767" y="6102575"/>
                  <a:pt x="5295675" y="6099529"/>
                  <a:pt x="5309201" y="6099529"/>
                </a:cubicBezTo>
                <a:cubicBezTo>
                  <a:pt x="5319346" y="6102575"/>
                  <a:pt x="5329491" y="6102575"/>
                  <a:pt x="5339636" y="6105621"/>
                </a:cubicBezTo>
                <a:cubicBezTo>
                  <a:pt x="5353163" y="6105621"/>
                  <a:pt x="5366690" y="6108667"/>
                  <a:pt x="5376835" y="6102575"/>
                </a:cubicBezTo>
                <a:cubicBezTo>
                  <a:pt x="5390361" y="6093436"/>
                  <a:pt x="5400506" y="6093436"/>
                  <a:pt x="5414033" y="6096482"/>
                </a:cubicBezTo>
                <a:cubicBezTo>
                  <a:pt x="5424178" y="6099529"/>
                  <a:pt x="5434323" y="6099529"/>
                  <a:pt x="5447849" y="6096482"/>
                </a:cubicBezTo>
                <a:cubicBezTo>
                  <a:pt x="5481666" y="6090390"/>
                  <a:pt x="5512101" y="6093436"/>
                  <a:pt x="5542536" y="6108667"/>
                </a:cubicBezTo>
                <a:cubicBezTo>
                  <a:pt x="5566207" y="6117806"/>
                  <a:pt x="5586497" y="6129991"/>
                  <a:pt x="5610169" y="6142177"/>
                </a:cubicBezTo>
                <a:cubicBezTo>
                  <a:pt x="5620314" y="6145223"/>
                  <a:pt x="5630459" y="6151315"/>
                  <a:pt x="5640604" y="6157408"/>
                </a:cubicBezTo>
                <a:cubicBezTo>
                  <a:pt x="5654130" y="6160454"/>
                  <a:pt x="5667657" y="6163501"/>
                  <a:pt x="5677802" y="6154362"/>
                </a:cubicBezTo>
                <a:cubicBezTo>
                  <a:pt x="5677802" y="6151315"/>
                  <a:pt x="5684565" y="6151315"/>
                  <a:pt x="5684565" y="6154362"/>
                </a:cubicBezTo>
                <a:cubicBezTo>
                  <a:pt x="5694710" y="6157408"/>
                  <a:pt x="5701474" y="6154362"/>
                  <a:pt x="5708237" y="6148269"/>
                </a:cubicBezTo>
                <a:cubicBezTo>
                  <a:pt x="5721764" y="6142177"/>
                  <a:pt x="5735290" y="6139130"/>
                  <a:pt x="5752198" y="6142177"/>
                </a:cubicBezTo>
                <a:cubicBezTo>
                  <a:pt x="5765725" y="6142177"/>
                  <a:pt x="5779252" y="6136084"/>
                  <a:pt x="5792778" y="6145223"/>
                </a:cubicBezTo>
                <a:cubicBezTo>
                  <a:pt x="5806305" y="6139130"/>
                  <a:pt x="5823213" y="6139130"/>
                  <a:pt x="5840122" y="6142177"/>
                </a:cubicBezTo>
                <a:cubicBezTo>
                  <a:pt x="5853648" y="6129991"/>
                  <a:pt x="5870556" y="6139130"/>
                  <a:pt x="5887465" y="6139130"/>
                </a:cubicBezTo>
                <a:cubicBezTo>
                  <a:pt x="5894228" y="6136084"/>
                  <a:pt x="5904373" y="6129991"/>
                  <a:pt x="5914518" y="6142177"/>
                </a:cubicBezTo>
                <a:cubicBezTo>
                  <a:pt x="5917900" y="6142177"/>
                  <a:pt x="5924663" y="6142177"/>
                  <a:pt x="5928045" y="6142177"/>
                </a:cubicBezTo>
                <a:cubicBezTo>
                  <a:pt x="5934808" y="6139130"/>
                  <a:pt x="5941571" y="6139130"/>
                  <a:pt x="5951716" y="6136084"/>
                </a:cubicBezTo>
                <a:cubicBezTo>
                  <a:pt x="5985533" y="6157408"/>
                  <a:pt x="6022731" y="6160454"/>
                  <a:pt x="6059929" y="6172639"/>
                </a:cubicBezTo>
                <a:cubicBezTo>
                  <a:pt x="6063311" y="6169593"/>
                  <a:pt x="6070074" y="6166547"/>
                  <a:pt x="6076838" y="6160454"/>
                </a:cubicBezTo>
                <a:cubicBezTo>
                  <a:pt x="6086982" y="6163501"/>
                  <a:pt x="6093746" y="6163501"/>
                  <a:pt x="6107272" y="6166547"/>
                </a:cubicBezTo>
                <a:cubicBezTo>
                  <a:pt x="6117417" y="6166547"/>
                  <a:pt x="6124181" y="6169593"/>
                  <a:pt x="6130944" y="6178732"/>
                </a:cubicBezTo>
                <a:cubicBezTo>
                  <a:pt x="6137707" y="6187871"/>
                  <a:pt x="6147852" y="6193963"/>
                  <a:pt x="6157997" y="6193963"/>
                </a:cubicBezTo>
                <a:cubicBezTo>
                  <a:pt x="6174906" y="6187871"/>
                  <a:pt x="6185051" y="6175686"/>
                  <a:pt x="6191814" y="6163501"/>
                </a:cubicBezTo>
                <a:cubicBezTo>
                  <a:pt x="6212104" y="6160454"/>
                  <a:pt x="6235775" y="6157408"/>
                  <a:pt x="6256065" y="6163501"/>
                </a:cubicBezTo>
                <a:cubicBezTo>
                  <a:pt x="6266210" y="6160454"/>
                  <a:pt x="6276355" y="6154362"/>
                  <a:pt x="6283119" y="6145223"/>
                </a:cubicBezTo>
                <a:cubicBezTo>
                  <a:pt x="6283119" y="6145223"/>
                  <a:pt x="6283119" y="6142177"/>
                  <a:pt x="6283119" y="6139130"/>
                </a:cubicBezTo>
                <a:cubicBezTo>
                  <a:pt x="6283119" y="6136084"/>
                  <a:pt x="6283119" y="6129991"/>
                  <a:pt x="6286500" y="6129991"/>
                </a:cubicBezTo>
                <a:cubicBezTo>
                  <a:pt x="6289882" y="6126945"/>
                  <a:pt x="6296645" y="6129991"/>
                  <a:pt x="6296645" y="6136084"/>
                </a:cubicBezTo>
                <a:cubicBezTo>
                  <a:pt x="6300027" y="6142177"/>
                  <a:pt x="6306790" y="6142177"/>
                  <a:pt x="6313554" y="6139130"/>
                </a:cubicBezTo>
                <a:cubicBezTo>
                  <a:pt x="6316935" y="6129991"/>
                  <a:pt x="6306790" y="6120853"/>
                  <a:pt x="6316935" y="6114760"/>
                </a:cubicBezTo>
                <a:cubicBezTo>
                  <a:pt x="6343988" y="6126945"/>
                  <a:pt x="6354133" y="6108667"/>
                  <a:pt x="6371042" y="6096482"/>
                </a:cubicBezTo>
                <a:cubicBezTo>
                  <a:pt x="6391332" y="6105621"/>
                  <a:pt x="6391332" y="6105621"/>
                  <a:pt x="6408240" y="6102575"/>
                </a:cubicBezTo>
                <a:cubicBezTo>
                  <a:pt x="6418385" y="6099529"/>
                  <a:pt x="6425148" y="6102575"/>
                  <a:pt x="6431911" y="6108667"/>
                </a:cubicBezTo>
                <a:cubicBezTo>
                  <a:pt x="6438675" y="6114760"/>
                  <a:pt x="6442056" y="6102575"/>
                  <a:pt x="6445438" y="6105621"/>
                </a:cubicBezTo>
                <a:cubicBezTo>
                  <a:pt x="6452201" y="6108667"/>
                  <a:pt x="6455583" y="6114760"/>
                  <a:pt x="6462346" y="6117806"/>
                </a:cubicBezTo>
                <a:cubicBezTo>
                  <a:pt x="6469110" y="6111714"/>
                  <a:pt x="6472491" y="6108667"/>
                  <a:pt x="6475873" y="6105621"/>
                </a:cubicBezTo>
                <a:cubicBezTo>
                  <a:pt x="6499545" y="6114760"/>
                  <a:pt x="6523216" y="6126945"/>
                  <a:pt x="6546888" y="6105621"/>
                </a:cubicBezTo>
                <a:cubicBezTo>
                  <a:pt x="6560414" y="6108667"/>
                  <a:pt x="6573941" y="6111714"/>
                  <a:pt x="6587468" y="6114760"/>
                </a:cubicBezTo>
                <a:cubicBezTo>
                  <a:pt x="6597613" y="6099529"/>
                  <a:pt x="6597613" y="6099529"/>
                  <a:pt x="6617903" y="6102575"/>
                </a:cubicBezTo>
                <a:cubicBezTo>
                  <a:pt x="6617903" y="6102575"/>
                  <a:pt x="6621284" y="6102575"/>
                  <a:pt x="6621284" y="6102575"/>
                </a:cubicBezTo>
                <a:cubicBezTo>
                  <a:pt x="6621284" y="6102575"/>
                  <a:pt x="6621284" y="6102575"/>
                  <a:pt x="6624666" y="6105621"/>
                </a:cubicBezTo>
                <a:cubicBezTo>
                  <a:pt x="6624666" y="6114760"/>
                  <a:pt x="6631429" y="6120853"/>
                  <a:pt x="6638193" y="6126945"/>
                </a:cubicBezTo>
                <a:cubicBezTo>
                  <a:pt x="6638193" y="6126945"/>
                  <a:pt x="6641574" y="6126945"/>
                  <a:pt x="6644956" y="6126945"/>
                </a:cubicBezTo>
                <a:cubicBezTo>
                  <a:pt x="6644956" y="6120853"/>
                  <a:pt x="6644956" y="6114760"/>
                  <a:pt x="6648338" y="6108667"/>
                </a:cubicBezTo>
                <a:cubicBezTo>
                  <a:pt x="6665246" y="6108667"/>
                  <a:pt x="6682154" y="6108667"/>
                  <a:pt x="6699062" y="6108667"/>
                </a:cubicBezTo>
                <a:cubicBezTo>
                  <a:pt x="6719352" y="6129991"/>
                  <a:pt x="6719352" y="6126945"/>
                  <a:pt x="6729497" y="6105621"/>
                </a:cubicBezTo>
                <a:cubicBezTo>
                  <a:pt x="6732879" y="6105621"/>
                  <a:pt x="6732879" y="6102575"/>
                  <a:pt x="6736261" y="6102575"/>
                </a:cubicBezTo>
                <a:cubicBezTo>
                  <a:pt x="6743024" y="6105621"/>
                  <a:pt x="6749787" y="6108667"/>
                  <a:pt x="6756551" y="6111714"/>
                </a:cubicBezTo>
                <a:cubicBezTo>
                  <a:pt x="6763314" y="6120853"/>
                  <a:pt x="6773459" y="6120853"/>
                  <a:pt x="6783604" y="6117806"/>
                </a:cubicBezTo>
                <a:cubicBezTo>
                  <a:pt x="6793749" y="6111714"/>
                  <a:pt x="6803894" y="6111714"/>
                  <a:pt x="6810657" y="6117806"/>
                </a:cubicBezTo>
                <a:cubicBezTo>
                  <a:pt x="6817420" y="6117806"/>
                  <a:pt x="6827565" y="6117806"/>
                  <a:pt x="6830947" y="6117806"/>
                </a:cubicBezTo>
                <a:cubicBezTo>
                  <a:pt x="6841092" y="6108667"/>
                  <a:pt x="6851237" y="6108667"/>
                  <a:pt x="6861382" y="6111714"/>
                </a:cubicBezTo>
                <a:cubicBezTo>
                  <a:pt x="6871527" y="6111714"/>
                  <a:pt x="6878290" y="6111714"/>
                  <a:pt x="6885054" y="6111714"/>
                </a:cubicBezTo>
                <a:cubicBezTo>
                  <a:pt x="6891817" y="6093436"/>
                  <a:pt x="6888435" y="6075158"/>
                  <a:pt x="6922252" y="6078205"/>
                </a:cubicBezTo>
                <a:cubicBezTo>
                  <a:pt x="6925633" y="6081251"/>
                  <a:pt x="6932397" y="6087343"/>
                  <a:pt x="6935778" y="6093436"/>
                </a:cubicBezTo>
                <a:cubicBezTo>
                  <a:pt x="6942542" y="6102575"/>
                  <a:pt x="6949305" y="6111714"/>
                  <a:pt x="6966213" y="6105621"/>
                </a:cubicBezTo>
                <a:cubicBezTo>
                  <a:pt x="6966213" y="6102575"/>
                  <a:pt x="6972977" y="6108667"/>
                  <a:pt x="6976358" y="6108667"/>
                </a:cubicBezTo>
                <a:cubicBezTo>
                  <a:pt x="6979740" y="6111714"/>
                  <a:pt x="6983122" y="6114760"/>
                  <a:pt x="6986503" y="6117806"/>
                </a:cubicBezTo>
                <a:cubicBezTo>
                  <a:pt x="6993267" y="6108667"/>
                  <a:pt x="6996648" y="6105621"/>
                  <a:pt x="7000030" y="6099529"/>
                </a:cubicBezTo>
                <a:cubicBezTo>
                  <a:pt x="7006793" y="6099529"/>
                  <a:pt x="7016938" y="6099529"/>
                  <a:pt x="7020320" y="6108667"/>
                </a:cubicBezTo>
                <a:cubicBezTo>
                  <a:pt x="7023701" y="6117806"/>
                  <a:pt x="7033846" y="6117806"/>
                  <a:pt x="7040610" y="6117806"/>
                </a:cubicBezTo>
                <a:cubicBezTo>
                  <a:pt x="7054136" y="6111714"/>
                  <a:pt x="7067663" y="6114760"/>
                  <a:pt x="7077808" y="6117806"/>
                </a:cubicBezTo>
                <a:cubicBezTo>
                  <a:pt x="7091335" y="6126945"/>
                  <a:pt x="7101480" y="6120853"/>
                  <a:pt x="7108243" y="6117806"/>
                </a:cubicBezTo>
                <a:cubicBezTo>
                  <a:pt x="7138678" y="6111714"/>
                  <a:pt x="7162349" y="6114760"/>
                  <a:pt x="7189403" y="6126945"/>
                </a:cubicBezTo>
                <a:cubicBezTo>
                  <a:pt x="7192784" y="6129991"/>
                  <a:pt x="7196166" y="6139130"/>
                  <a:pt x="7199548" y="6142177"/>
                </a:cubicBezTo>
                <a:cubicBezTo>
                  <a:pt x="7219838" y="6154362"/>
                  <a:pt x="7236746" y="6169593"/>
                  <a:pt x="7267181" y="6166547"/>
                </a:cubicBezTo>
                <a:cubicBezTo>
                  <a:pt x="7273944" y="6166547"/>
                  <a:pt x="7280707" y="6166547"/>
                  <a:pt x="7290852" y="6163501"/>
                </a:cubicBezTo>
                <a:cubicBezTo>
                  <a:pt x="7300997" y="6160454"/>
                  <a:pt x="7311142" y="6163501"/>
                  <a:pt x="7321287" y="6166547"/>
                </a:cubicBezTo>
                <a:cubicBezTo>
                  <a:pt x="7344959" y="6172639"/>
                  <a:pt x="7361867" y="6181778"/>
                  <a:pt x="7365249" y="6206149"/>
                </a:cubicBezTo>
                <a:cubicBezTo>
                  <a:pt x="7368630" y="6221380"/>
                  <a:pt x="7385539" y="6227473"/>
                  <a:pt x="7399065" y="6230519"/>
                </a:cubicBezTo>
                <a:cubicBezTo>
                  <a:pt x="7405829" y="6230519"/>
                  <a:pt x="7412592" y="6227473"/>
                  <a:pt x="7419355" y="6227473"/>
                </a:cubicBezTo>
                <a:cubicBezTo>
                  <a:pt x="7443027" y="6257935"/>
                  <a:pt x="7476843" y="6264028"/>
                  <a:pt x="7503897" y="6288398"/>
                </a:cubicBezTo>
                <a:cubicBezTo>
                  <a:pt x="7514042" y="6279259"/>
                  <a:pt x="7517423" y="6273167"/>
                  <a:pt x="7517423" y="6264028"/>
                </a:cubicBezTo>
                <a:cubicBezTo>
                  <a:pt x="7517423" y="6254889"/>
                  <a:pt x="7524187" y="6251843"/>
                  <a:pt x="7534332" y="6248797"/>
                </a:cubicBezTo>
                <a:cubicBezTo>
                  <a:pt x="7537713" y="6248797"/>
                  <a:pt x="7541095" y="6248797"/>
                  <a:pt x="7544477" y="6248797"/>
                </a:cubicBezTo>
                <a:cubicBezTo>
                  <a:pt x="7544477" y="6242704"/>
                  <a:pt x="7544477" y="6233565"/>
                  <a:pt x="7544477" y="6227473"/>
                </a:cubicBezTo>
                <a:cubicBezTo>
                  <a:pt x="7551240" y="6227473"/>
                  <a:pt x="7558003" y="6227473"/>
                  <a:pt x="7568148" y="6227473"/>
                </a:cubicBezTo>
                <a:cubicBezTo>
                  <a:pt x="7585056" y="6230519"/>
                  <a:pt x="7601965" y="6230519"/>
                  <a:pt x="7618873" y="6227473"/>
                </a:cubicBezTo>
                <a:cubicBezTo>
                  <a:pt x="7635781" y="6221380"/>
                  <a:pt x="7652690" y="6221380"/>
                  <a:pt x="7669598" y="6221380"/>
                </a:cubicBezTo>
                <a:cubicBezTo>
                  <a:pt x="7693269" y="6224426"/>
                  <a:pt x="7713559" y="6221380"/>
                  <a:pt x="7733849" y="6215287"/>
                </a:cubicBezTo>
                <a:cubicBezTo>
                  <a:pt x="7767666" y="6206149"/>
                  <a:pt x="7801482" y="6209195"/>
                  <a:pt x="7831917" y="6221380"/>
                </a:cubicBezTo>
                <a:cubicBezTo>
                  <a:pt x="7848826" y="6227473"/>
                  <a:pt x="7865734" y="6227473"/>
                  <a:pt x="7879261" y="6224426"/>
                </a:cubicBezTo>
                <a:cubicBezTo>
                  <a:pt x="7892787" y="6224426"/>
                  <a:pt x="7899551" y="6224426"/>
                  <a:pt x="7909696" y="6227473"/>
                </a:cubicBezTo>
                <a:cubicBezTo>
                  <a:pt x="7919840" y="6227473"/>
                  <a:pt x="7929985" y="6230519"/>
                  <a:pt x="7936749" y="6230519"/>
                </a:cubicBezTo>
                <a:cubicBezTo>
                  <a:pt x="7946894" y="6230519"/>
                  <a:pt x="7957039" y="6227473"/>
                  <a:pt x="7963802" y="6224426"/>
                </a:cubicBezTo>
                <a:cubicBezTo>
                  <a:pt x="7980710" y="6245750"/>
                  <a:pt x="8001000" y="6251843"/>
                  <a:pt x="8024672" y="6251843"/>
                </a:cubicBezTo>
                <a:cubicBezTo>
                  <a:pt x="8048343" y="6251843"/>
                  <a:pt x="8068633" y="6254889"/>
                  <a:pt x="8088923" y="6254889"/>
                </a:cubicBezTo>
                <a:cubicBezTo>
                  <a:pt x="8099068" y="6254889"/>
                  <a:pt x="8112595" y="6257935"/>
                  <a:pt x="8122740" y="6254889"/>
                </a:cubicBezTo>
                <a:cubicBezTo>
                  <a:pt x="8173465" y="6245750"/>
                  <a:pt x="8220808" y="6248797"/>
                  <a:pt x="8268151" y="6260982"/>
                </a:cubicBezTo>
                <a:cubicBezTo>
                  <a:pt x="8291823" y="6267074"/>
                  <a:pt x="8312113" y="6276213"/>
                  <a:pt x="8335784" y="6260982"/>
                </a:cubicBezTo>
                <a:cubicBezTo>
                  <a:pt x="8335784" y="6257935"/>
                  <a:pt x="8339166" y="6260982"/>
                  <a:pt x="8342548" y="6260982"/>
                </a:cubicBezTo>
                <a:cubicBezTo>
                  <a:pt x="8345929" y="6260982"/>
                  <a:pt x="8352693" y="6260982"/>
                  <a:pt x="8356074" y="6257935"/>
                </a:cubicBezTo>
                <a:cubicBezTo>
                  <a:pt x="8359456" y="6254889"/>
                  <a:pt x="8362838" y="6251843"/>
                  <a:pt x="8369601" y="6254889"/>
                </a:cubicBezTo>
                <a:cubicBezTo>
                  <a:pt x="8376364" y="6257935"/>
                  <a:pt x="8386509" y="6260982"/>
                  <a:pt x="8393272" y="6260982"/>
                </a:cubicBezTo>
                <a:cubicBezTo>
                  <a:pt x="8400036" y="6264028"/>
                  <a:pt x="8403417" y="6264028"/>
                  <a:pt x="8406799" y="6264028"/>
                </a:cubicBezTo>
                <a:cubicBezTo>
                  <a:pt x="8413562" y="6248797"/>
                  <a:pt x="8416944" y="6233565"/>
                  <a:pt x="8423707" y="6221380"/>
                </a:cubicBezTo>
                <a:cubicBezTo>
                  <a:pt x="8430470" y="6218334"/>
                  <a:pt x="8440615" y="6221380"/>
                  <a:pt x="8443997" y="6218334"/>
                </a:cubicBezTo>
                <a:cubicBezTo>
                  <a:pt x="8457524" y="6215287"/>
                  <a:pt x="8464287" y="6227473"/>
                  <a:pt x="8474432" y="6224426"/>
                </a:cubicBezTo>
                <a:cubicBezTo>
                  <a:pt x="8481195" y="6221380"/>
                  <a:pt x="8487959" y="6212241"/>
                  <a:pt x="8491340" y="6212241"/>
                </a:cubicBezTo>
                <a:cubicBezTo>
                  <a:pt x="8504867" y="6212241"/>
                  <a:pt x="8508249" y="6200056"/>
                  <a:pt x="8521775" y="6197010"/>
                </a:cubicBezTo>
                <a:cubicBezTo>
                  <a:pt x="8525157" y="6203102"/>
                  <a:pt x="8528538" y="6206149"/>
                  <a:pt x="8531920" y="6215287"/>
                </a:cubicBezTo>
                <a:cubicBezTo>
                  <a:pt x="8548828" y="6212241"/>
                  <a:pt x="8562355" y="6215287"/>
                  <a:pt x="8579263" y="6215287"/>
                </a:cubicBezTo>
                <a:cubicBezTo>
                  <a:pt x="8589408" y="6218334"/>
                  <a:pt x="8602935" y="6215287"/>
                  <a:pt x="8619843" y="6218334"/>
                </a:cubicBezTo>
                <a:cubicBezTo>
                  <a:pt x="8633370" y="6218334"/>
                  <a:pt x="8646896" y="6221380"/>
                  <a:pt x="8660423" y="6221380"/>
                </a:cubicBezTo>
                <a:cubicBezTo>
                  <a:pt x="8667186" y="6221380"/>
                  <a:pt x="8673950" y="6218334"/>
                  <a:pt x="8684095" y="6218334"/>
                </a:cubicBezTo>
                <a:cubicBezTo>
                  <a:pt x="8684095" y="6218334"/>
                  <a:pt x="8687476" y="6215287"/>
                  <a:pt x="8690858" y="6215287"/>
                </a:cubicBezTo>
                <a:cubicBezTo>
                  <a:pt x="8701003" y="6218334"/>
                  <a:pt x="8711148" y="6221380"/>
                  <a:pt x="8717911" y="6224426"/>
                </a:cubicBezTo>
                <a:cubicBezTo>
                  <a:pt x="8728056" y="6224426"/>
                  <a:pt x="8731438" y="6212241"/>
                  <a:pt x="8744964" y="6215287"/>
                </a:cubicBezTo>
                <a:cubicBezTo>
                  <a:pt x="8751728" y="6218334"/>
                  <a:pt x="8761873" y="6215287"/>
                  <a:pt x="8772018" y="6215287"/>
                </a:cubicBezTo>
                <a:cubicBezTo>
                  <a:pt x="8782163" y="6212241"/>
                  <a:pt x="8788926" y="6212241"/>
                  <a:pt x="8799071" y="6215287"/>
                </a:cubicBezTo>
                <a:cubicBezTo>
                  <a:pt x="8812598" y="6221380"/>
                  <a:pt x="8812598" y="6221380"/>
                  <a:pt x="8822743" y="6209195"/>
                </a:cubicBezTo>
                <a:cubicBezTo>
                  <a:pt x="8826124" y="6203102"/>
                  <a:pt x="8836269" y="6200056"/>
                  <a:pt x="8843033" y="6197010"/>
                </a:cubicBezTo>
                <a:cubicBezTo>
                  <a:pt x="8859941" y="6187871"/>
                  <a:pt x="8883612" y="6178732"/>
                  <a:pt x="8903902" y="6190917"/>
                </a:cubicBezTo>
                <a:cubicBezTo>
                  <a:pt x="8924192" y="6190917"/>
                  <a:pt x="8944482" y="6200056"/>
                  <a:pt x="8964772" y="6187871"/>
                </a:cubicBezTo>
                <a:cubicBezTo>
                  <a:pt x="8971536" y="6178732"/>
                  <a:pt x="8981680" y="6178732"/>
                  <a:pt x="8995207" y="6181778"/>
                </a:cubicBezTo>
                <a:cubicBezTo>
                  <a:pt x="9005352" y="6184825"/>
                  <a:pt x="9018879" y="6187871"/>
                  <a:pt x="9032405" y="6178732"/>
                </a:cubicBezTo>
                <a:cubicBezTo>
                  <a:pt x="9039169" y="6172639"/>
                  <a:pt x="9049314" y="6178732"/>
                  <a:pt x="9059459" y="6172639"/>
                </a:cubicBezTo>
                <a:cubicBezTo>
                  <a:pt x="9069604" y="6163501"/>
                  <a:pt x="9076367" y="6175686"/>
                  <a:pt x="9086512" y="6175686"/>
                </a:cubicBezTo>
                <a:cubicBezTo>
                  <a:pt x="9089893" y="6175686"/>
                  <a:pt x="9093275" y="6175686"/>
                  <a:pt x="9096657" y="6172639"/>
                </a:cubicBezTo>
                <a:cubicBezTo>
                  <a:pt x="9106802" y="6169593"/>
                  <a:pt x="9120328" y="6169593"/>
                  <a:pt x="9130473" y="6175686"/>
                </a:cubicBezTo>
                <a:cubicBezTo>
                  <a:pt x="9133855" y="6178732"/>
                  <a:pt x="9137237" y="6181778"/>
                  <a:pt x="9144000" y="6184825"/>
                </a:cubicBezTo>
                <a:cubicBezTo>
                  <a:pt x="9144000" y="6227473"/>
                  <a:pt x="9144000" y="6285352"/>
                  <a:pt x="9144000" y="6355416"/>
                </a:cubicBezTo>
                <a:lnTo>
                  <a:pt x="9144000" y="6373899"/>
                </a:lnTo>
                <a:lnTo>
                  <a:pt x="9144000" y="6449851"/>
                </a:lnTo>
                <a:lnTo>
                  <a:pt x="9144000" y="6857998"/>
                </a:lnTo>
                <a:lnTo>
                  <a:pt x="0" y="6857998"/>
                </a:lnTo>
                <a:lnTo>
                  <a:pt x="0" y="6449851"/>
                </a:lnTo>
                <a:cubicBezTo>
                  <a:pt x="0" y="6395018"/>
                  <a:pt x="0" y="6395018"/>
                  <a:pt x="0" y="6395018"/>
                </a:cubicBezTo>
                <a:lnTo>
                  <a:pt x="0" y="6373899"/>
                </a:lnTo>
                <a:lnTo>
                  <a:pt x="0" y="6309532"/>
                </a:lnTo>
                <a:cubicBezTo>
                  <a:pt x="0" y="6227853"/>
                  <a:pt x="0" y="6158170"/>
                  <a:pt x="0" y="6105621"/>
                </a:cubicBezTo>
                <a:cubicBezTo>
                  <a:pt x="13527" y="6096482"/>
                  <a:pt x="33817" y="6093436"/>
                  <a:pt x="54107" y="6090390"/>
                </a:cubicBezTo>
                <a:cubicBezTo>
                  <a:pt x="71015" y="6090390"/>
                  <a:pt x="87923" y="6087343"/>
                  <a:pt x="98068" y="6078205"/>
                </a:cubicBezTo>
                <a:cubicBezTo>
                  <a:pt x="104831" y="6072112"/>
                  <a:pt x="111595" y="6072112"/>
                  <a:pt x="118358" y="6072112"/>
                </a:cubicBezTo>
                <a:cubicBezTo>
                  <a:pt x="135266" y="6075158"/>
                  <a:pt x="155556" y="6078205"/>
                  <a:pt x="172465" y="6081251"/>
                </a:cubicBezTo>
                <a:cubicBezTo>
                  <a:pt x="179228" y="6084297"/>
                  <a:pt x="182610" y="6084297"/>
                  <a:pt x="185991" y="6084297"/>
                </a:cubicBezTo>
                <a:cubicBezTo>
                  <a:pt x="199518" y="6081251"/>
                  <a:pt x="213045" y="6078205"/>
                  <a:pt x="226571" y="6078205"/>
                </a:cubicBezTo>
                <a:cubicBezTo>
                  <a:pt x="243479" y="6062973"/>
                  <a:pt x="267151" y="6069066"/>
                  <a:pt x="284059" y="6050788"/>
                </a:cubicBezTo>
                <a:cubicBezTo>
                  <a:pt x="287441" y="6050788"/>
                  <a:pt x="294204" y="6050788"/>
                  <a:pt x="297586" y="6050788"/>
                </a:cubicBezTo>
                <a:cubicBezTo>
                  <a:pt x="307731" y="6050788"/>
                  <a:pt x="314494" y="6056881"/>
                  <a:pt x="317876" y="6062973"/>
                </a:cubicBezTo>
                <a:cubicBezTo>
                  <a:pt x="321258" y="6078205"/>
                  <a:pt x="328021" y="6084297"/>
                  <a:pt x="344929" y="6081251"/>
                </a:cubicBezTo>
                <a:cubicBezTo>
                  <a:pt x="348311" y="6081251"/>
                  <a:pt x="351692" y="6081251"/>
                  <a:pt x="355074" y="6081251"/>
                </a:cubicBezTo>
                <a:cubicBezTo>
                  <a:pt x="371982" y="6087343"/>
                  <a:pt x="388891" y="6087343"/>
                  <a:pt x="409181" y="6081251"/>
                </a:cubicBezTo>
                <a:cubicBezTo>
                  <a:pt x="415944" y="6078205"/>
                  <a:pt x="426089" y="6081251"/>
                  <a:pt x="432852" y="6084297"/>
                </a:cubicBezTo>
                <a:cubicBezTo>
                  <a:pt x="439616" y="6087343"/>
                  <a:pt x="449761" y="6090390"/>
                  <a:pt x="456524" y="6084297"/>
                </a:cubicBezTo>
                <a:cubicBezTo>
                  <a:pt x="466669" y="6078205"/>
                  <a:pt x="483577" y="6084297"/>
                  <a:pt x="486959" y="6072112"/>
                </a:cubicBezTo>
                <a:cubicBezTo>
                  <a:pt x="486959" y="6069066"/>
                  <a:pt x="490340" y="6069066"/>
                  <a:pt x="490340" y="6069066"/>
                </a:cubicBezTo>
                <a:cubicBezTo>
                  <a:pt x="503867" y="6072112"/>
                  <a:pt x="510630" y="6062973"/>
                  <a:pt x="517394" y="6059927"/>
                </a:cubicBezTo>
                <a:cubicBezTo>
                  <a:pt x="530920" y="6056881"/>
                  <a:pt x="544447" y="6053834"/>
                  <a:pt x="561355" y="6056881"/>
                </a:cubicBezTo>
                <a:cubicBezTo>
                  <a:pt x="581645" y="6062973"/>
                  <a:pt x="605317" y="6069066"/>
                  <a:pt x="628988" y="6069066"/>
                </a:cubicBezTo>
                <a:cubicBezTo>
                  <a:pt x="628988" y="6072112"/>
                  <a:pt x="628988" y="6072112"/>
                  <a:pt x="628988" y="6072112"/>
                </a:cubicBezTo>
                <a:cubicBezTo>
                  <a:pt x="632370" y="6072112"/>
                  <a:pt x="632370" y="6072112"/>
                  <a:pt x="632370" y="6072112"/>
                </a:cubicBezTo>
                <a:cubicBezTo>
                  <a:pt x="628988" y="6069066"/>
                  <a:pt x="628988" y="6069066"/>
                  <a:pt x="628988" y="6069066"/>
                </a:cubicBezTo>
                <a:cubicBezTo>
                  <a:pt x="628988" y="6066019"/>
                  <a:pt x="628988" y="6066019"/>
                  <a:pt x="628988" y="6066019"/>
                </a:cubicBezTo>
                <a:cubicBezTo>
                  <a:pt x="632370" y="6062973"/>
                  <a:pt x="632370" y="6062973"/>
                  <a:pt x="632370" y="6059927"/>
                </a:cubicBezTo>
                <a:cubicBezTo>
                  <a:pt x="635752" y="6050788"/>
                  <a:pt x="635752" y="6047742"/>
                  <a:pt x="649278" y="6056881"/>
                </a:cubicBezTo>
                <a:cubicBezTo>
                  <a:pt x="649278" y="6056881"/>
                  <a:pt x="652660" y="6056881"/>
                  <a:pt x="656042" y="6056881"/>
                </a:cubicBezTo>
                <a:cubicBezTo>
                  <a:pt x="656042" y="6053834"/>
                  <a:pt x="659423" y="6050788"/>
                  <a:pt x="662805" y="6044696"/>
                </a:cubicBezTo>
                <a:cubicBezTo>
                  <a:pt x="666187" y="6047742"/>
                  <a:pt x="669568" y="6053834"/>
                  <a:pt x="669568" y="6053834"/>
                </a:cubicBezTo>
                <a:cubicBezTo>
                  <a:pt x="686476" y="6050788"/>
                  <a:pt x="696622" y="6059927"/>
                  <a:pt x="710148" y="6056881"/>
                </a:cubicBezTo>
                <a:cubicBezTo>
                  <a:pt x="720293" y="6053834"/>
                  <a:pt x="727056" y="6053834"/>
                  <a:pt x="737201" y="6050788"/>
                </a:cubicBezTo>
                <a:cubicBezTo>
                  <a:pt x="740583" y="6059927"/>
                  <a:pt x="743965" y="6072112"/>
                  <a:pt x="750728" y="6081251"/>
                </a:cubicBezTo>
                <a:cubicBezTo>
                  <a:pt x="757491" y="6081251"/>
                  <a:pt x="764255" y="6081251"/>
                  <a:pt x="767636" y="6081251"/>
                </a:cubicBezTo>
                <a:cubicBezTo>
                  <a:pt x="774400" y="6081251"/>
                  <a:pt x="774400" y="6093436"/>
                  <a:pt x="784545" y="6090390"/>
                </a:cubicBezTo>
                <a:cubicBezTo>
                  <a:pt x="784545" y="6081251"/>
                  <a:pt x="787926" y="6072112"/>
                  <a:pt x="787926" y="6059927"/>
                </a:cubicBezTo>
                <a:cubicBezTo>
                  <a:pt x="811598" y="6053834"/>
                  <a:pt x="831888" y="6047742"/>
                  <a:pt x="852178" y="6041649"/>
                </a:cubicBezTo>
                <a:cubicBezTo>
                  <a:pt x="862323" y="6044696"/>
                  <a:pt x="869086" y="6047742"/>
                  <a:pt x="875849" y="6050788"/>
                </a:cubicBezTo>
                <a:cubicBezTo>
                  <a:pt x="885994" y="6047742"/>
                  <a:pt x="896139" y="6044696"/>
                  <a:pt x="906284" y="6038603"/>
                </a:cubicBezTo>
                <a:cubicBezTo>
                  <a:pt x="923192" y="6023372"/>
                  <a:pt x="943482" y="6026418"/>
                  <a:pt x="960391" y="6032510"/>
                </a:cubicBezTo>
                <a:cubicBezTo>
                  <a:pt x="973917" y="6035557"/>
                  <a:pt x="987444" y="6038603"/>
                  <a:pt x="1000971" y="6035557"/>
                </a:cubicBezTo>
                <a:cubicBezTo>
                  <a:pt x="1011116" y="6035557"/>
                  <a:pt x="1021261" y="6035557"/>
                  <a:pt x="1028024" y="6035557"/>
                </a:cubicBezTo>
                <a:cubicBezTo>
                  <a:pt x="1038169" y="6038603"/>
                  <a:pt x="1048314" y="6041649"/>
                  <a:pt x="1058459" y="6044696"/>
                </a:cubicBezTo>
                <a:cubicBezTo>
                  <a:pt x="1061840" y="6044696"/>
                  <a:pt x="1068604" y="6041649"/>
                  <a:pt x="1075367" y="6035557"/>
                </a:cubicBezTo>
                <a:cubicBezTo>
                  <a:pt x="1085512" y="6026418"/>
                  <a:pt x="1099039" y="6023372"/>
                  <a:pt x="1115947" y="6026418"/>
                </a:cubicBezTo>
                <a:cubicBezTo>
                  <a:pt x="1119329" y="6026418"/>
                  <a:pt x="1122710" y="6026418"/>
                  <a:pt x="1126092" y="6026418"/>
                </a:cubicBezTo>
                <a:cubicBezTo>
                  <a:pt x="1146382" y="6014233"/>
                  <a:pt x="1163290" y="6029464"/>
                  <a:pt x="1180198" y="6032510"/>
                </a:cubicBezTo>
                <a:cubicBezTo>
                  <a:pt x="1180198" y="6044696"/>
                  <a:pt x="1190344" y="6044696"/>
                  <a:pt x="1197107" y="6044696"/>
                </a:cubicBezTo>
                <a:cubicBezTo>
                  <a:pt x="1210633" y="6041649"/>
                  <a:pt x="1220778" y="6041649"/>
                  <a:pt x="1234305" y="6032510"/>
                </a:cubicBezTo>
                <a:cubicBezTo>
                  <a:pt x="1244450" y="6026418"/>
                  <a:pt x="1257977" y="6020325"/>
                  <a:pt x="1271503" y="6011186"/>
                </a:cubicBezTo>
                <a:cubicBezTo>
                  <a:pt x="1273194" y="6008140"/>
                  <a:pt x="1275730" y="6005094"/>
                  <a:pt x="1278689" y="6003571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3557913"/>
                </a:lnTo>
                <a:cubicBezTo>
                  <a:pt x="9144000" y="3571621"/>
                  <a:pt x="9144000" y="3581903"/>
                  <a:pt x="9144000" y="3589613"/>
                </a:cubicBezTo>
                <a:lnTo>
                  <a:pt x="9144000" y="3592414"/>
                </a:lnTo>
                <a:lnTo>
                  <a:pt x="9144000" y="3605892"/>
                </a:lnTo>
                <a:cubicBezTo>
                  <a:pt x="9144000" y="3612746"/>
                  <a:pt x="9144000" y="3612746"/>
                  <a:pt x="9144000" y="3612746"/>
                </a:cubicBezTo>
                <a:cubicBezTo>
                  <a:pt x="9144000" y="3731551"/>
                  <a:pt x="9144000" y="3832079"/>
                  <a:pt x="9144000" y="3902143"/>
                </a:cubicBezTo>
                <a:cubicBezTo>
                  <a:pt x="9130473" y="3911282"/>
                  <a:pt x="9110183" y="3914328"/>
                  <a:pt x="9089893" y="3917375"/>
                </a:cubicBezTo>
                <a:cubicBezTo>
                  <a:pt x="9072985" y="3917375"/>
                  <a:pt x="9056077" y="3920421"/>
                  <a:pt x="9045932" y="3929560"/>
                </a:cubicBezTo>
                <a:cubicBezTo>
                  <a:pt x="9039169" y="3935652"/>
                  <a:pt x="9032405" y="3935652"/>
                  <a:pt x="9025642" y="3935652"/>
                </a:cubicBezTo>
                <a:cubicBezTo>
                  <a:pt x="9008734" y="3932606"/>
                  <a:pt x="8988444" y="3929560"/>
                  <a:pt x="8971536" y="3926513"/>
                </a:cubicBezTo>
                <a:cubicBezTo>
                  <a:pt x="8964772" y="3923467"/>
                  <a:pt x="8961391" y="3923467"/>
                  <a:pt x="8958009" y="3923467"/>
                </a:cubicBezTo>
                <a:cubicBezTo>
                  <a:pt x="8944482" y="3926513"/>
                  <a:pt x="8930956" y="3929560"/>
                  <a:pt x="8917429" y="3929560"/>
                </a:cubicBezTo>
                <a:cubicBezTo>
                  <a:pt x="8900521" y="3944791"/>
                  <a:pt x="8876849" y="3938699"/>
                  <a:pt x="8859941" y="3956976"/>
                </a:cubicBezTo>
                <a:cubicBezTo>
                  <a:pt x="8856559" y="3956976"/>
                  <a:pt x="8849796" y="3956976"/>
                  <a:pt x="8846414" y="3956976"/>
                </a:cubicBezTo>
                <a:cubicBezTo>
                  <a:pt x="8836269" y="3956976"/>
                  <a:pt x="8829506" y="3950884"/>
                  <a:pt x="8826124" y="3944791"/>
                </a:cubicBezTo>
                <a:cubicBezTo>
                  <a:pt x="8822743" y="3929560"/>
                  <a:pt x="8815979" y="3923467"/>
                  <a:pt x="8799071" y="3926513"/>
                </a:cubicBezTo>
                <a:cubicBezTo>
                  <a:pt x="8795689" y="3926513"/>
                  <a:pt x="8792308" y="3926513"/>
                  <a:pt x="8788926" y="3926513"/>
                </a:cubicBezTo>
                <a:cubicBezTo>
                  <a:pt x="8772018" y="3920421"/>
                  <a:pt x="8755109" y="3920421"/>
                  <a:pt x="8734820" y="3926513"/>
                </a:cubicBezTo>
                <a:cubicBezTo>
                  <a:pt x="8728056" y="3929560"/>
                  <a:pt x="8717911" y="3926513"/>
                  <a:pt x="8711148" y="3923467"/>
                </a:cubicBezTo>
                <a:cubicBezTo>
                  <a:pt x="8704385" y="3920421"/>
                  <a:pt x="8694240" y="3917375"/>
                  <a:pt x="8687476" y="3923467"/>
                </a:cubicBezTo>
                <a:cubicBezTo>
                  <a:pt x="8677331" y="3929560"/>
                  <a:pt x="8660423" y="3923467"/>
                  <a:pt x="8657041" y="3935652"/>
                </a:cubicBezTo>
                <a:cubicBezTo>
                  <a:pt x="8657041" y="3938699"/>
                  <a:pt x="8653660" y="3938699"/>
                  <a:pt x="8653660" y="3938699"/>
                </a:cubicBezTo>
                <a:cubicBezTo>
                  <a:pt x="8640133" y="3935652"/>
                  <a:pt x="8633370" y="3944791"/>
                  <a:pt x="8626606" y="3947837"/>
                </a:cubicBezTo>
                <a:cubicBezTo>
                  <a:pt x="8613080" y="3950884"/>
                  <a:pt x="8599553" y="3953930"/>
                  <a:pt x="8582645" y="3950884"/>
                </a:cubicBezTo>
                <a:cubicBezTo>
                  <a:pt x="8562355" y="3944791"/>
                  <a:pt x="8538683" y="3938699"/>
                  <a:pt x="8515012" y="3938699"/>
                </a:cubicBezTo>
                <a:cubicBezTo>
                  <a:pt x="8515012" y="3935652"/>
                  <a:pt x="8515012" y="3935652"/>
                  <a:pt x="8515012" y="3935652"/>
                </a:cubicBezTo>
                <a:cubicBezTo>
                  <a:pt x="8511630" y="3935652"/>
                  <a:pt x="8511630" y="3935652"/>
                  <a:pt x="8511630" y="3935652"/>
                </a:cubicBezTo>
                <a:cubicBezTo>
                  <a:pt x="8515012" y="3938699"/>
                  <a:pt x="8515012" y="3938699"/>
                  <a:pt x="8515012" y="3938699"/>
                </a:cubicBezTo>
                <a:cubicBezTo>
                  <a:pt x="8515012" y="3941745"/>
                  <a:pt x="8515012" y="3941745"/>
                  <a:pt x="8515012" y="3941745"/>
                </a:cubicBezTo>
                <a:cubicBezTo>
                  <a:pt x="8511630" y="3944791"/>
                  <a:pt x="8511630" y="3944791"/>
                  <a:pt x="8511630" y="3947837"/>
                </a:cubicBezTo>
                <a:cubicBezTo>
                  <a:pt x="8508248" y="3956976"/>
                  <a:pt x="8508248" y="3960023"/>
                  <a:pt x="8494722" y="3950884"/>
                </a:cubicBezTo>
                <a:cubicBezTo>
                  <a:pt x="8494722" y="3950884"/>
                  <a:pt x="8491340" y="3950884"/>
                  <a:pt x="8487959" y="3950884"/>
                </a:cubicBezTo>
                <a:cubicBezTo>
                  <a:pt x="8487959" y="3953930"/>
                  <a:pt x="8484577" y="3956976"/>
                  <a:pt x="8481195" y="3963069"/>
                </a:cubicBezTo>
                <a:cubicBezTo>
                  <a:pt x="8477814" y="3960023"/>
                  <a:pt x="8474432" y="3953930"/>
                  <a:pt x="8474432" y="3953930"/>
                </a:cubicBezTo>
                <a:cubicBezTo>
                  <a:pt x="8457524" y="3956976"/>
                  <a:pt x="8447379" y="3947837"/>
                  <a:pt x="8433852" y="3950884"/>
                </a:cubicBezTo>
                <a:cubicBezTo>
                  <a:pt x="8423707" y="3953930"/>
                  <a:pt x="8416944" y="3953930"/>
                  <a:pt x="8406799" y="3956976"/>
                </a:cubicBezTo>
                <a:cubicBezTo>
                  <a:pt x="8403417" y="3947837"/>
                  <a:pt x="8400036" y="3935652"/>
                  <a:pt x="8393272" y="3926513"/>
                </a:cubicBezTo>
                <a:cubicBezTo>
                  <a:pt x="8386509" y="3926513"/>
                  <a:pt x="8379745" y="3926513"/>
                  <a:pt x="8376364" y="3926513"/>
                </a:cubicBezTo>
                <a:cubicBezTo>
                  <a:pt x="8369600" y="3926513"/>
                  <a:pt x="8369600" y="3914328"/>
                  <a:pt x="8359455" y="3917375"/>
                </a:cubicBezTo>
                <a:cubicBezTo>
                  <a:pt x="8359455" y="3926513"/>
                  <a:pt x="8356074" y="3935652"/>
                  <a:pt x="8356074" y="3947837"/>
                </a:cubicBezTo>
                <a:cubicBezTo>
                  <a:pt x="8332402" y="3953930"/>
                  <a:pt x="8312112" y="3960023"/>
                  <a:pt x="8291822" y="3966115"/>
                </a:cubicBezTo>
                <a:cubicBezTo>
                  <a:pt x="8281677" y="3963069"/>
                  <a:pt x="8274914" y="3960023"/>
                  <a:pt x="8268151" y="3956976"/>
                </a:cubicBezTo>
                <a:cubicBezTo>
                  <a:pt x="8258006" y="3960023"/>
                  <a:pt x="8247861" y="3963069"/>
                  <a:pt x="8237716" y="3969161"/>
                </a:cubicBezTo>
                <a:cubicBezTo>
                  <a:pt x="8220807" y="3984393"/>
                  <a:pt x="8200518" y="3981347"/>
                  <a:pt x="8183609" y="3975254"/>
                </a:cubicBezTo>
                <a:cubicBezTo>
                  <a:pt x="8170083" y="3972208"/>
                  <a:pt x="8156556" y="3969161"/>
                  <a:pt x="8143029" y="3972208"/>
                </a:cubicBezTo>
                <a:cubicBezTo>
                  <a:pt x="8132884" y="3972208"/>
                  <a:pt x="8122739" y="3972208"/>
                  <a:pt x="8115976" y="3972208"/>
                </a:cubicBezTo>
                <a:cubicBezTo>
                  <a:pt x="8105831" y="3969161"/>
                  <a:pt x="8095686" y="3966115"/>
                  <a:pt x="8085541" y="3963069"/>
                </a:cubicBezTo>
                <a:cubicBezTo>
                  <a:pt x="8082160" y="3963069"/>
                  <a:pt x="8075396" y="3966115"/>
                  <a:pt x="8068633" y="3972208"/>
                </a:cubicBezTo>
                <a:cubicBezTo>
                  <a:pt x="8058488" y="3981347"/>
                  <a:pt x="8044961" y="3984393"/>
                  <a:pt x="8028053" y="3981347"/>
                </a:cubicBezTo>
                <a:cubicBezTo>
                  <a:pt x="8024671" y="3981347"/>
                  <a:pt x="8021290" y="3981347"/>
                  <a:pt x="8017908" y="3981347"/>
                </a:cubicBezTo>
                <a:cubicBezTo>
                  <a:pt x="7997618" y="3993532"/>
                  <a:pt x="7980710" y="3978300"/>
                  <a:pt x="7963802" y="3975254"/>
                </a:cubicBezTo>
                <a:cubicBezTo>
                  <a:pt x="7963802" y="3963069"/>
                  <a:pt x="7953657" y="3963069"/>
                  <a:pt x="7946893" y="3963069"/>
                </a:cubicBezTo>
                <a:cubicBezTo>
                  <a:pt x="7933367" y="3966115"/>
                  <a:pt x="7923222" y="3966115"/>
                  <a:pt x="7909695" y="3975254"/>
                </a:cubicBezTo>
                <a:cubicBezTo>
                  <a:pt x="7899550" y="3981347"/>
                  <a:pt x="7886023" y="3987439"/>
                  <a:pt x="7872497" y="3996578"/>
                </a:cubicBezTo>
                <a:cubicBezTo>
                  <a:pt x="7869115" y="4002671"/>
                  <a:pt x="7862352" y="4008763"/>
                  <a:pt x="7855589" y="4002671"/>
                </a:cubicBezTo>
                <a:cubicBezTo>
                  <a:pt x="7842062" y="3987439"/>
                  <a:pt x="7828535" y="3972208"/>
                  <a:pt x="7818390" y="3956976"/>
                </a:cubicBezTo>
                <a:cubicBezTo>
                  <a:pt x="7791337" y="3944791"/>
                  <a:pt x="7771047" y="3950884"/>
                  <a:pt x="7750757" y="3960023"/>
                </a:cubicBezTo>
                <a:cubicBezTo>
                  <a:pt x="7740612" y="3956976"/>
                  <a:pt x="7727086" y="3953930"/>
                  <a:pt x="7720322" y="3950884"/>
                </a:cubicBezTo>
                <a:cubicBezTo>
                  <a:pt x="7710177" y="3944791"/>
                  <a:pt x="7703414" y="3935652"/>
                  <a:pt x="7693269" y="3929560"/>
                </a:cubicBezTo>
                <a:cubicBezTo>
                  <a:pt x="7689887" y="3926513"/>
                  <a:pt x="7686506" y="3923467"/>
                  <a:pt x="7679742" y="3923467"/>
                </a:cubicBezTo>
                <a:cubicBezTo>
                  <a:pt x="7662834" y="3917375"/>
                  <a:pt x="7645926" y="3911282"/>
                  <a:pt x="7625636" y="3917375"/>
                </a:cubicBezTo>
                <a:cubicBezTo>
                  <a:pt x="7622254" y="3917375"/>
                  <a:pt x="7615491" y="3917375"/>
                  <a:pt x="7608728" y="3917375"/>
                </a:cubicBezTo>
                <a:cubicBezTo>
                  <a:pt x="7605346" y="3911282"/>
                  <a:pt x="7601964" y="3908236"/>
                  <a:pt x="7598583" y="3905189"/>
                </a:cubicBezTo>
                <a:cubicBezTo>
                  <a:pt x="7588438" y="3889958"/>
                  <a:pt x="7578293" y="3874727"/>
                  <a:pt x="7558003" y="3871680"/>
                </a:cubicBezTo>
                <a:cubicBezTo>
                  <a:pt x="7551239" y="3871680"/>
                  <a:pt x="7547858" y="3868634"/>
                  <a:pt x="7544476" y="3865588"/>
                </a:cubicBezTo>
                <a:cubicBezTo>
                  <a:pt x="7534331" y="3859495"/>
                  <a:pt x="7527568" y="3850356"/>
                  <a:pt x="7514041" y="3844264"/>
                </a:cubicBezTo>
                <a:cubicBezTo>
                  <a:pt x="7510660" y="3841218"/>
                  <a:pt x="7497133" y="3841218"/>
                  <a:pt x="7490370" y="3838171"/>
                </a:cubicBezTo>
                <a:cubicBezTo>
                  <a:pt x="7483606" y="3832079"/>
                  <a:pt x="7480225" y="3819894"/>
                  <a:pt x="7473461" y="3813801"/>
                </a:cubicBezTo>
                <a:cubicBezTo>
                  <a:pt x="7449790" y="3807708"/>
                  <a:pt x="7426118" y="3801616"/>
                  <a:pt x="7399065" y="3792477"/>
                </a:cubicBezTo>
                <a:cubicBezTo>
                  <a:pt x="7395683" y="3792477"/>
                  <a:pt x="7388920" y="3789431"/>
                  <a:pt x="7385538" y="3786384"/>
                </a:cubicBezTo>
                <a:cubicBezTo>
                  <a:pt x="7368630" y="3777246"/>
                  <a:pt x="7348340" y="3777246"/>
                  <a:pt x="7328050" y="3774199"/>
                </a:cubicBezTo>
                <a:cubicBezTo>
                  <a:pt x="7321287" y="3771153"/>
                  <a:pt x="7314523" y="3777246"/>
                  <a:pt x="7311142" y="3783338"/>
                </a:cubicBezTo>
                <a:cubicBezTo>
                  <a:pt x="7307760" y="3780292"/>
                  <a:pt x="7304379" y="3777246"/>
                  <a:pt x="7300997" y="3777246"/>
                </a:cubicBezTo>
                <a:cubicBezTo>
                  <a:pt x="7280707" y="3768107"/>
                  <a:pt x="7260417" y="3762014"/>
                  <a:pt x="7240127" y="3752875"/>
                </a:cubicBezTo>
                <a:cubicBezTo>
                  <a:pt x="7236745" y="3749829"/>
                  <a:pt x="7229982" y="3749829"/>
                  <a:pt x="7226600" y="3752875"/>
                </a:cubicBezTo>
                <a:cubicBezTo>
                  <a:pt x="7206310" y="3762014"/>
                  <a:pt x="7186021" y="3755922"/>
                  <a:pt x="7169112" y="3752875"/>
                </a:cubicBezTo>
                <a:cubicBezTo>
                  <a:pt x="7155586" y="3752875"/>
                  <a:pt x="7142059" y="3752875"/>
                  <a:pt x="7131914" y="3752875"/>
                </a:cubicBezTo>
                <a:cubicBezTo>
                  <a:pt x="7111624" y="3755922"/>
                  <a:pt x="7094716" y="3762014"/>
                  <a:pt x="7077808" y="3758968"/>
                </a:cubicBezTo>
                <a:cubicBezTo>
                  <a:pt x="7050754" y="3758968"/>
                  <a:pt x="7027083" y="3762014"/>
                  <a:pt x="7006793" y="3768107"/>
                </a:cubicBezTo>
                <a:cubicBezTo>
                  <a:pt x="6979740" y="3774199"/>
                  <a:pt x="6952686" y="3777246"/>
                  <a:pt x="6925633" y="3765060"/>
                </a:cubicBezTo>
                <a:cubicBezTo>
                  <a:pt x="6922251" y="3765060"/>
                  <a:pt x="6915488" y="3765060"/>
                  <a:pt x="6912106" y="3762014"/>
                </a:cubicBezTo>
                <a:cubicBezTo>
                  <a:pt x="6895198" y="3752875"/>
                  <a:pt x="6878290" y="3752875"/>
                  <a:pt x="6861382" y="3755922"/>
                </a:cubicBezTo>
                <a:cubicBezTo>
                  <a:pt x="6844473" y="3755922"/>
                  <a:pt x="6827565" y="3755922"/>
                  <a:pt x="6807275" y="3749829"/>
                </a:cubicBezTo>
                <a:cubicBezTo>
                  <a:pt x="6803893" y="3749829"/>
                  <a:pt x="6800512" y="3749829"/>
                  <a:pt x="6797130" y="3752875"/>
                </a:cubicBezTo>
                <a:cubicBezTo>
                  <a:pt x="6793748" y="3752875"/>
                  <a:pt x="6786985" y="3755922"/>
                  <a:pt x="6783603" y="3755922"/>
                </a:cubicBezTo>
                <a:cubicBezTo>
                  <a:pt x="6780222" y="3752875"/>
                  <a:pt x="6776840" y="3752875"/>
                  <a:pt x="6776840" y="3752875"/>
                </a:cubicBezTo>
                <a:cubicBezTo>
                  <a:pt x="6763313" y="3737644"/>
                  <a:pt x="6749787" y="3731551"/>
                  <a:pt x="6726115" y="3731551"/>
                </a:cubicBezTo>
                <a:cubicBezTo>
                  <a:pt x="6688917" y="3731551"/>
                  <a:pt x="6648337" y="3728505"/>
                  <a:pt x="6607757" y="3725459"/>
                </a:cubicBezTo>
                <a:cubicBezTo>
                  <a:pt x="6607757" y="3725459"/>
                  <a:pt x="6604376" y="3728505"/>
                  <a:pt x="6604376" y="3728505"/>
                </a:cubicBezTo>
                <a:cubicBezTo>
                  <a:pt x="6567177" y="3731551"/>
                  <a:pt x="6529979" y="3734598"/>
                  <a:pt x="6496163" y="3725459"/>
                </a:cubicBezTo>
                <a:cubicBezTo>
                  <a:pt x="6479254" y="3719366"/>
                  <a:pt x="6465728" y="3716320"/>
                  <a:pt x="6448819" y="3713274"/>
                </a:cubicBezTo>
                <a:cubicBezTo>
                  <a:pt x="6445438" y="3713274"/>
                  <a:pt x="6438674" y="3710227"/>
                  <a:pt x="6435293" y="3713274"/>
                </a:cubicBezTo>
                <a:cubicBezTo>
                  <a:pt x="6421766" y="3716320"/>
                  <a:pt x="6408240" y="3722412"/>
                  <a:pt x="6391331" y="3719366"/>
                </a:cubicBezTo>
                <a:cubicBezTo>
                  <a:pt x="6377805" y="3731551"/>
                  <a:pt x="6360896" y="3725459"/>
                  <a:pt x="6347370" y="3719366"/>
                </a:cubicBezTo>
                <a:cubicBezTo>
                  <a:pt x="6343988" y="3716320"/>
                  <a:pt x="6340606" y="3716320"/>
                  <a:pt x="6333843" y="3716320"/>
                </a:cubicBezTo>
                <a:cubicBezTo>
                  <a:pt x="6330461" y="3728505"/>
                  <a:pt x="6327080" y="3743736"/>
                  <a:pt x="6323698" y="3758968"/>
                </a:cubicBezTo>
                <a:cubicBezTo>
                  <a:pt x="6320316" y="3758968"/>
                  <a:pt x="6313553" y="3762014"/>
                  <a:pt x="6310171" y="3762014"/>
                </a:cubicBezTo>
                <a:cubicBezTo>
                  <a:pt x="6296645" y="3758968"/>
                  <a:pt x="6283118" y="3758968"/>
                  <a:pt x="6266210" y="3755922"/>
                </a:cubicBezTo>
                <a:cubicBezTo>
                  <a:pt x="6262828" y="3762014"/>
                  <a:pt x="6259447" y="3771153"/>
                  <a:pt x="6252683" y="3771153"/>
                </a:cubicBezTo>
                <a:cubicBezTo>
                  <a:pt x="6242538" y="3774199"/>
                  <a:pt x="6235775" y="3780292"/>
                  <a:pt x="6222248" y="3783338"/>
                </a:cubicBezTo>
                <a:cubicBezTo>
                  <a:pt x="6218867" y="3777246"/>
                  <a:pt x="6215485" y="3771153"/>
                  <a:pt x="6208722" y="3765060"/>
                </a:cubicBezTo>
                <a:cubicBezTo>
                  <a:pt x="6201958" y="3765060"/>
                  <a:pt x="6198577" y="3768107"/>
                  <a:pt x="6191813" y="3768107"/>
                </a:cubicBezTo>
                <a:cubicBezTo>
                  <a:pt x="6181669" y="3768107"/>
                  <a:pt x="6168142" y="3765060"/>
                  <a:pt x="6157997" y="3762014"/>
                </a:cubicBezTo>
                <a:cubicBezTo>
                  <a:pt x="6147852" y="3758968"/>
                  <a:pt x="6134325" y="3768107"/>
                  <a:pt x="6124180" y="3765060"/>
                </a:cubicBezTo>
                <a:cubicBezTo>
                  <a:pt x="6103890" y="3755922"/>
                  <a:pt x="6080219" y="3758968"/>
                  <a:pt x="6063311" y="3762014"/>
                </a:cubicBezTo>
                <a:cubicBezTo>
                  <a:pt x="6053166" y="3765060"/>
                  <a:pt x="6046402" y="3768107"/>
                  <a:pt x="6039639" y="3762014"/>
                </a:cubicBezTo>
                <a:cubicBezTo>
                  <a:pt x="6032876" y="3755922"/>
                  <a:pt x="6022731" y="3755922"/>
                  <a:pt x="6015967" y="3762014"/>
                </a:cubicBezTo>
                <a:cubicBezTo>
                  <a:pt x="6009204" y="3762014"/>
                  <a:pt x="6005822" y="3765060"/>
                  <a:pt x="5999059" y="3765060"/>
                </a:cubicBezTo>
                <a:cubicBezTo>
                  <a:pt x="5992296" y="3765060"/>
                  <a:pt x="5978769" y="3765060"/>
                  <a:pt x="5972006" y="3765060"/>
                </a:cubicBezTo>
                <a:cubicBezTo>
                  <a:pt x="5961861" y="3768107"/>
                  <a:pt x="5951716" y="3768107"/>
                  <a:pt x="5941571" y="3765060"/>
                </a:cubicBezTo>
                <a:cubicBezTo>
                  <a:pt x="5931426" y="3758968"/>
                  <a:pt x="5924663" y="3762014"/>
                  <a:pt x="5914518" y="3771153"/>
                </a:cubicBezTo>
                <a:cubicBezTo>
                  <a:pt x="5897609" y="3792477"/>
                  <a:pt x="5873938" y="3795523"/>
                  <a:pt x="5846884" y="3792477"/>
                </a:cubicBezTo>
                <a:cubicBezTo>
                  <a:pt x="5823213" y="3789431"/>
                  <a:pt x="5799541" y="3783338"/>
                  <a:pt x="5779251" y="3795523"/>
                </a:cubicBezTo>
                <a:cubicBezTo>
                  <a:pt x="5769106" y="3801616"/>
                  <a:pt x="5755580" y="3801616"/>
                  <a:pt x="5742053" y="3798570"/>
                </a:cubicBezTo>
                <a:cubicBezTo>
                  <a:pt x="5738671" y="3798570"/>
                  <a:pt x="5728527" y="3795523"/>
                  <a:pt x="5725145" y="3798570"/>
                </a:cubicBezTo>
                <a:cubicBezTo>
                  <a:pt x="5715000" y="3807708"/>
                  <a:pt x="5698092" y="3798569"/>
                  <a:pt x="5691328" y="3804662"/>
                </a:cubicBezTo>
                <a:cubicBezTo>
                  <a:pt x="5677802" y="3816847"/>
                  <a:pt x="5667657" y="3807708"/>
                  <a:pt x="5657512" y="3807708"/>
                </a:cubicBezTo>
                <a:cubicBezTo>
                  <a:pt x="5654130" y="3804662"/>
                  <a:pt x="5647367" y="3807708"/>
                  <a:pt x="5643985" y="3810754"/>
                </a:cubicBezTo>
                <a:cubicBezTo>
                  <a:pt x="5633840" y="3813801"/>
                  <a:pt x="5627077" y="3810754"/>
                  <a:pt x="5616932" y="3807708"/>
                </a:cubicBezTo>
                <a:cubicBezTo>
                  <a:pt x="5613550" y="3804662"/>
                  <a:pt x="5610169" y="3804662"/>
                  <a:pt x="5603405" y="3801616"/>
                </a:cubicBezTo>
                <a:cubicBezTo>
                  <a:pt x="5579734" y="3804662"/>
                  <a:pt x="5556062" y="3810754"/>
                  <a:pt x="5532390" y="3813801"/>
                </a:cubicBezTo>
                <a:cubicBezTo>
                  <a:pt x="5525627" y="3816847"/>
                  <a:pt x="5512100" y="3816847"/>
                  <a:pt x="5505337" y="3813801"/>
                </a:cubicBezTo>
                <a:cubicBezTo>
                  <a:pt x="5485047" y="3801616"/>
                  <a:pt x="5461376" y="3801616"/>
                  <a:pt x="5437704" y="3804662"/>
                </a:cubicBezTo>
                <a:cubicBezTo>
                  <a:pt x="5430941" y="3813801"/>
                  <a:pt x="5424177" y="3825986"/>
                  <a:pt x="5407269" y="3822940"/>
                </a:cubicBezTo>
                <a:cubicBezTo>
                  <a:pt x="5390361" y="3832078"/>
                  <a:pt x="5376834" y="3825986"/>
                  <a:pt x="5363308" y="3819893"/>
                </a:cubicBezTo>
                <a:cubicBezTo>
                  <a:pt x="5346399" y="3813801"/>
                  <a:pt x="5329491" y="3810754"/>
                  <a:pt x="5312583" y="3804662"/>
                </a:cubicBezTo>
                <a:cubicBezTo>
                  <a:pt x="5302438" y="3801616"/>
                  <a:pt x="5292293" y="3798569"/>
                  <a:pt x="5282148" y="3807708"/>
                </a:cubicBezTo>
                <a:cubicBezTo>
                  <a:pt x="5278766" y="3807708"/>
                  <a:pt x="5275384" y="3807708"/>
                  <a:pt x="5272003" y="3807708"/>
                </a:cubicBezTo>
                <a:cubicBezTo>
                  <a:pt x="5261858" y="3801616"/>
                  <a:pt x="5255095" y="3789430"/>
                  <a:pt x="5241568" y="3786384"/>
                </a:cubicBezTo>
                <a:cubicBezTo>
                  <a:pt x="5241568" y="3795523"/>
                  <a:pt x="5244950" y="3804662"/>
                  <a:pt x="5238186" y="3810754"/>
                </a:cubicBezTo>
                <a:cubicBezTo>
                  <a:pt x="5228041" y="3819893"/>
                  <a:pt x="5217896" y="3819893"/>
                  <a:pt x="5211133" y="3816847"/>
                </a:cubicBezTo>
                <a:cubicBezTo>
                  <a:pt x="5197606" y="3810754"/>
                  <a:pt x="5180698" y="3813801"/>
                  <a:pt x="5167171" y="3813801"/>
                </a:cubicBezTo>
                <a:cubicBezTo>
                  <a:pt x="5153645" y="3813801"/>
                  <a:pt x="5140118" y="3810754"/>
                  <a:pt x="5126592" y="3816847"/>
                </a:cubicBezTo>
                <a:cubicBezTo>
                  <a:pt x="5126592" y="3816847"/>
                  <a:pt x="5119828" y="3816847"/>
                  <a:pt x="5119828" y="3816847"/>
                </a:cubicBezTo>
                <a:cubicBezTo>
                  <a:pt x="5109683" y="3813801"/>
                  <a:pt x="5102920" y="3810754"/>
                  <a:pt x="5092775" y="3810754"/>
                </a:cubicBezTo>
                <a:cubicBezTo>
                  <a:pt x="5082630" y="3810754"/>
                  <a:pt x="5072485" y="3807708"/>
                  <a:pt x="5058958" y="3804662"/>
                </a:cubicBezTo>
                <a:cubicBezTo>
                  <a:pt x="5038669" y="3795523"/>
                  <a:pt x="5014997" y="3789430"/>
                  <a:pt x="4991325" y="3798569"/>
                </a:cubicBezTo>
                <a:cubicBezTo>
                  <a:pt x="4977799" y="3795523"/>
                  <a:pt x="4964272" y="3795523"/>
                  <a:pt x="4950745" y="3804662"/>
                </a:cubicBezTo>
                <a:cubicBezTo>
                  <a:pt x="4943982" y="3807708"/>
                  <a:pt x="4933837" y="3807708"/>
                  <a:pt x="4927074" y="3807708"/>
                </a:cubicBezTo>
                <a:cubicBezTo>
                  <a:pt x="4916929" y="3807708"/>
                  <a:pt x="4910165" y="3807708"/>
                  <a:pt x="4903402" y="3807708"/>
                </a:cubicBezTo>
                <a:cubicBezTo>
                  <a:pt x="4883112" y="3804662"/>
                  <a:pt x="4859441" y="3807708"/>
                  <a:pt x="4839151" y="3801616"/>
                </a:cubicBezTo>
                <a:cubicBezTo>
                  <a:pt x="4829006" y="3798569"/>
                  <a:pt x="4818861" y="3801616"/>
                  <a:pt x="4805334" y="3801616"/>
                </a:cubicBezTo>
                <a:cubicBezTo>
                  <a:pt x="4785044" y="3807708"/>
                  <a:pt x="4764754" y="3801616"/>
                  <a:pt x="4741083" y="3795523"/>
                </a:cubicBezTo>
                <a:cubicBezTo>
                  <a:pt x="4714029" y="3792477"/>
                  <a:pt x="4683594" y="3795523"/>
                  <a:pt x="4656541" y="3801616"/>
                </a:cubicBezTo>
                <a:cubicBezTo>
                  <a:pt x="4646396" y="3804662"/>
                  <a:pt x="4636251" y="3807708"/>
                  <a:pt x="4626106" y="3807708"/>
                </a:cubicBezTo>
                <a:cubicBezTo>
                  <a:pt x="4619343" y="3804662"/>
                  <a:pt x="4615961" y="3807708"/>
                  <a:pt x="4609198" y="3807708"/>
                </a:cubicBezTo>
                <a:cubicBezTo>
                  <a:pt x="4588908" y="3813801"/>
                  <a:pt x="4572000" y="3822940"/>
                  <a:pt x="4551710" y="3822940"/>
                </a:cubicBezTo>
                <a:cubicBezTo>
                  <a:pt x="4541565" y="3835125"/>
                  <a:pt x="4531420" y="3822940"/>
                  <a:pt x="4521275" y="3829032"/>
                </a:cubicBezTo>
                <a:cubicBezTo>
                  <a:pt x="4507748" y="3832078"/>
                  <a:pt x="4497603" y="3832078"/>
                  <a:pt x="4487458" y="3829032"/>
                </a:cubicBezTo>
                <a:cubicBezTo>
                  <a:pt x="4473932" y="3822940"/>
                  <a:pt x="4460405" y="3825986"/>
                  <a:pt x="4450260" y="3835125"/>
                </a:cubicBezTo>
                <a:cubicBezTo>
                  <a:pt x="4446878" y="3841217"/>
                  <a:pt x="4443497" y="3844264"/>
                  <a:pt x="4440115" y="3844264"/>
                </a:cubicBezTo>
                <a:cubicBezTo>
                  <a:pt x="4429970" y="3847310"/>
                  <a:pt x="4419825" y="3850356"/>
                  <a:pt x="4413062" y="3850356"/>
                </a:cubicBezTo>
                <a:cubicBezTo>
                  <a:pt x="4399535" y="3847310"/>
                  <a:pt x="4392772" y="3856449"/>
                  <a:pt x="4386009" y="3859495"/>
                </a:cubicBezTo>
                <a:cubicBezTo>
                  <a:pt x="4379245" y="3859495"/>
                  <a:pt x="4375864" y="3859495"/>
                  <a:pt x="4369100" y="3859495"/>
                </a:cubicBezTo>
                <a:cubicBezTo>
                  <a:pt x="4362337" y="3856449"/>
                  <a:pt x="4358955" y="3859495"/>
                  <a:pt x="4355574" y="3862541"/>
                </a:cubicBezTo>
                <a:cubicBezTo>
                  <a:pt x="4348810" y="3865588"/>
                  <a:pt x="4342047" y="3865588"/>
                  <a:pt x="4335284" y="3865588"/>
                </a:cubicBezTo>
                <a:cubicBezTo>
                  <a:pt x="4321757" y="3865588"/>
                  <a:pt x="4308231" y="3868634"/>
                  <a:pt x="4301467" y="3877773"/>
                </a:cubicBezTo>
                <a:cubicBezTo>
                  <a:pt x="4281177" y="3874726"/>
                  <a:pt x="4260887" y="3868634"/>
                  <a:pt x="4243979" y="3868634"/>
                </a:cubicBezTo>
                <a:cubicBezTo>
                  <a:pt x="4230452" y="3865588"/>
                  <a:pt x="4216926" y="3859495"/>
                  <a:pt x="4200018" y="3865588"/>
                </a:cubicBezTo>
                <a:cubicBezTo>
                  <a:pt x="4196636" y="3865588"/>
                  <a:pt x="4189873" y="3859495"/>
                  <a:pt x="4186491" y="3856449"/>
                </a:cubicBezTo>
                <a:cubicBezTo>
                  <a:pt x="4176346" y="3847310"/>
                  <a:pt x="4166201" y="3844264"/>
                  <a:pt x="4152674" y="3847310"/>
                </a:cubicBezTo>
                <a:cubicBezTo>
                  <a:pt x="4135766" y="3853402"/>
                  <a:pt x="4122239" y="3853402"/>
                  <a:pt x="4105331" y="3847310"/>
                </a:cubicBezTo>
                <a:cubicBezTo>
                  <a:pt x="4095187" y="3844264"/>
                  <a:pt x="4088423" y="3844264"/>
                  <a:pt x="4074896" y="3841217"/>
                </a:cubicBezTo>
                <a:cubicBezTo>
                  <a:pt x="4071515" y="3841217"/>
                  <a:pt x="4071515" y="3841217"/>
                  <a:pt x="4064751" y="3841217"/>
                </a:cubicBezTo>
                <a:cubicBezTo>
                  <a:pt x="4064751" y="3847310"/>
                  <a:pt x="4064751" y="3853402"/>
                  <a:pt x="4064751" y="3859495"/>
                </a:cubicBezTo>
                <a:cubicBezTo>
                  <a:pt x="4057988" y="3859495"/>
                  <a:pt x="4051225" y="3862541"/>
                  <a:pt x="4044461" y="3862541"/>
                </a:cubicBezTo>
                <a:cubicBezTo>
                  <a:pt x="4041080" y="3859495"/>
                  <a:pt x="4034316" y="3853402"/>
                  <a:pt x="4027554" y="3847310"/>
                </a:cubicBezTo>
                <a:cubicBezTo>
                  <a:pt x="4017408" y="3853402"/>
                  <a:pt x="4010645" y="3862541"/>
                  <a:pt x="4000500" y="3859495"/>
                </a:cubicBezTo>
                <a:cubicBezTo>
                  <a:pt x="3983592" y="3868634"/>
                  <a:pt x="3963302" y="3868634"/>
                  <a:pt x="3946393" y="3886912"/>
                </a:cubicBezTo>
                <a:cubicBezTo>
                  <a:pt x="3943012" y="3889958"/>
                  <a:pt x="3932867" y="3896050"/>
                  <a:pt x="3922722" y="3893004"/>
                </a:cubicBezTo>
                <a:cubicBezTo>
                  <a:pt x="3909196" y="3889958"/>
                  <a:pt x="3892287" y="3896050"/>
                  <a:pt x="3878761" y="3899097"/>
                </a:cubicBezTo>
                <a:cubicBezTo>
                  <a:pt x="3865234" y="3905189"/>
                  <a:pt x="3848326" y="3908236"/>
                  <a:pt x="3834799" y="3908236"/>
                </a:cubicBezTo>
                <a:cubicBezTo>
                  <a:pt x="3824654" y="3905189"/>
                  <a:pt x="3814509" y="3905189"/>
                  <a:pt x="3804364" y="3902143"/>
                </a:cubicBezTo>
                <a:cubicBezTo>
                  <a:pt x="3790838" y="3902143"/>
                  <a:pt x="3777311" y="3899097"/>
                  <a:pt x="3767165" y="3905189"/>
                </a:cubicBezTo>
                <a:cubicBezTo>
                  <a:pt x="3753639" y="3914328"/>
                  <a:pt x="3743494" y="3914328"/>
                  <a:pt x="3729968" y="3911282"/>
                </a:cubicBezTo>
                <a:cubicBezTo>
                  <a:pt x="3719823" y="3908236"/>
                  <a:pt x="3709677" y="3908236"/>
                  <a:pt x="3696151" y="3911282"/>
                </a:cubicBezTo>
                <a:cubicBezTo>
                  <a:pt x="3662335" y="3917374"/>
                  <a:pt x="3631900" y="3914328"/>
                  <a:pt x="3601465" y="3899097"/>
                </a:cubicBezTo>
                <a:cubicBezTo>
                  <a:pt x="3577793" y="3889958"/>
                  <a:pt x="3557503" y="3877773"/>
                  <a:pt x="3533831" y="3865588"/>
                </a:cubicBezTo>
                <a:cubicBezTo>
                  <a:pt x="3523687" y="3862541"/>
                  <a:pt x="3513542" y="3856449"/>
                  <a:pt x="3503396" y="3850356"/>
                </a:cubicBezTo>
                <a:cubicBezTo>
                  <a:pt x="3489870" y="3847310"/>
                  <a:pt x="3476343" y="3844264"/>
                  <a:pt x="3466198" y="3853402"/>
                </a:cubicBezTo>
                <a:cubicBezTo>
                  <a:pt x="3466198" y="3856449"/>
                  <a:pt x="3459435" y="3856449"/>
                  <a:pt x="3459435" y="3853402"/>
                </a:cubicBezTo>
                <a:cubicBezTo>
                  <a:pt x="3449290" y="3850356"/>
                  <a:pt x="3442527" y="3853402"/>
                  <a:pt x="3435763" y="3859495"/>
                </a:cubicBezTo>
                <a:cubicBezTo>
                  <a:pt x="3422237" y="3865588"/>
                  <a:pt x="3408710" y="3868634"/>
                  <a:pt x="3391802" y="3865588"/>
                </a:cubicBezTo>
                <a:cubicBezTo>
                  <a:pt x="3378275" y="3865588"/>
                  <a:pt x="3364749" y="3871680"/>
                  <a:pt x="3351222" y="3862541"/>
                </a:cubicBezTo>
                <a:cubicBezTo>
                  <a:pt x="3337696" y="3868634"/>
                  <a:pt x="3320787" y="3868634"/>
                  <a:pt x="3303879" y="3865588"/>
                </a:cubicBezTo>
                <a:cubicBezTo>
                  <a:pt x="3290352" y="3877773"/>
                  <a:pt x="3273444" y="3868634"/>
                  <a:pt x="3256535" y="3868634"/>
                </a:cubicBezTo>
                <a:cubicBezTo>
                  <a:pt x="3249772" y="3871680"/>
                  <a:pt x="3239627" y="3877773"/>
                  <a:pt x="3229482" y="3865588"/>
                </a:cubicBezTo>
                <a:cubicBezTo>
                  <a:pt x="3226100" y="3865588"/>
                  <a:pt x="3219338" y="3865588"/>
                  <a:pt x="3215956" y="3865588"/>
                </a:cubicBezTo>
                <a:cubicBezTo>
                  <a:pt x="3209193" y="3868634"/>
                  <a:pt x="3202429" y="3868634"/>
                  <a:pt x="3192284" y="3871680"/>
                </a:cubicBezTo>
                <a:cubicBezTo>
                  <a:pt x="3158468" y="3850356"/>
                  <a:pt x="3121269" y="3847310"/>
                  <a:pt x="3084071" y="3835125"/>
                </a:cubicBezTo>
                <a:cubicBezTo>
                  <a:pt x="3080689" y="3838171"/>
                  <a:pt x="3073926" y="3841217"/>
                  <a:pt x="3067162" y="3847310"/>
                </a:cubicBezTo>
                <a:cubicBezTo>
                  <a:pt x="3057018" y="3844264"/>
                  <a:pt x="3050254" y="3844264"/>
                  <a:pt x="3036728" y="3841217"/>
                </a:cubicBezTo>
                <a:cubicBezTo>
                  <a:pt x="3026583" y="3841217"/>
                  <a:pt x="3019819" y="3838171"/>
                  <a:pt x="3013056" y="3829032"/>
                </a:cubicBezTo>
                <a:cubicBezTo>
                  <a:pt x="3006293" y="3819893"/>
                  <a:pt x="2996148" y="3813801"/>
                  <a:pt x="2986003" y="3813801"/>
                </a:cubicBezTo>
                <a:cubicBezTo>
                  <a:pt x="2969095" y="3819893"/>
                  <a:pt x="2958950" y="3832078"/>
                  <a:pt x="2952187" y="3844264"/>
                </a:cubicBezTo>
                <a:cubicBezTo>
                  <a:pt x="2931896" y="3847310"/>
                  <a:pt x="2908225" y="3850356"/>
                  <a:pt x="2887935" y="3844264"/>
                </a:cubicBezTo>
                <a:cubicBezTo>
                  <a:pt x="2877790" y="3847310"/>
                  <a:pt x="2867645" y="3853402"/>
                  <a:pt x="2860881" y="3862541"/>
                </a:cubicBezTo>
                <a:cubicBezTo>
                  <a:pt x="2860881" y="3862541"/>
                  <a:pt x="2860881" y="3865588"/>
                  <a:pt x="2860881" y="3868634"/>
                </a:cubicBezTo>
                <a:cubicBezTo>
                  <a:pt x="2860881" y="3871680"/>
                  <a:pt x="2860881" y="3877773"/>
                  <a:pt x="2857500" y="3877773"/>
                </a:cubicBezTo>
                <a:cubicBezTo>
                  <a:pt x="2854119" y="3880819"/>
                  <a:pt x="2847355" y="3877773"/>
                  <a:pt x="2847355" y="3871680"/>
                </a:cubicBezTo>
                <a:cubicBezTo>
                  <a:pt x="2843973" y="3865588"/>
                  <a:pt x="2837210" y="3865588"/>
                  <a:pt x="2830446" y="3868634"/>
                </a:cubicBezTo>
                <a:cubicBezTo>
                  <a:pt x="2827065" y="3877773"/>
                  <a:pt x="2837210" y="3886912"/>
                  <a:pt x="2827065" y="3893004"/>
                </a:cubicBezTo>
                <a:cubicBezTo>
                  <a:pt x="2800012" y="3880819"/>
                  <a:pt x="2789867" y="3899097"/>
                  <a:pt x="2772958" y="3911282"/>
                </a:cubicBezTo>
                <a:cubicBezTo>
                  <a:pt x="2752669" y="3902143"/>
                  <a:pt x="2752669" y="3902143"/>
                  <a:pt x="2735761" y="3905189"/>
                </a:cubicBezTo>
                <a:cubicBezTo>
                  <a:pt x="2725616" y="3908236"/>
                  <a:pt x="2718852" y="3905189"/>
                  <a:pt x="2712089" y="3899097"/>
                </a:cubicBezTo>
                <a:cubicBezTo>
                  <a:pt x="2705326" y="3893004"/>
                  <a:pt x="2701944" y="3905189"/>
                  <a:pt x="2698562" y="3902143"/>
                </a:cubicBezTo>
                <a:cubicBezTo>
                  <a:pt x="2691799" y="3899097"/>
                  <a:pt x="2688417" y="3893004"/>
                  <a:pt x="2681654" y="3889958"/>
                </a:cubicBezTo>
                <a:cubicBezTo>
                  <a:pt x="2674891" y="3896050"/>
                  <a:pt x="2671509" y="3899097"/>
                  <a:pt x="2668127" y="3902143"/>
                </a:cubicBezTo>
                <a:cubicBezTo>
                  <a:pt x="2644456" y="3893004"/>
                  <a:pt x="2620784" y="3880819"/>
                  <a:pt x="2597112" y="3902143"/>
                </a:cubicBezTo>
                <a:cubicBezTo>
                  <a:pt x="2583586" y="3899097"/>
                  <a:pt x="2570059" y="3896050"/>
                  <a:pt x="2556533" y="3893004"/>
                </a:cubicBezTo>
                <a:cubicBezTo>
                  <a:pt x="2546388" y="3908236"/>
                  <a:pt x="2546388" y="3908236"/>
                  <a:pt x="2526098" y="3905189"/>
                </a:cubicBezTo>
                <a:cubicBezTo>
                  <a:pt x="2526098" y="3905189"/>
                  <a:pt x="2522716" y="3905189"/>
                  <a:pt x="2522716" y="3905189"/>
                </a:cubicBezTo>
                <a:cubicBezTo>
                  <a:pt x="2522716" y="3905189"/>
                  <a:pt x="2522716" y="3905189"/>
                  <a:pt x="2519335" y="3902143"/>
                </a:cubicBezTo>
                <a:cubicBezTo>
                  <a:pt x="2519335" y="3893004"/>
                  <a:pt x="2512571" y="3886912"/>
                  <a:pt x="2505807" y="3880819"/>
                </a:cubicBezTo>
                <a:cubicBezTo>
                  <a:pt x="2505807" y="3880819"/>
                  <a:pt x="2502426" y="3880819"/>
                  <a:pt x="2499045" y="3880819"/>
                </a:cubicBezTo>
                <a:cubicBezTo>
                  <a:pt x="2499045" y="3886912"/>
                  <a:pt x="2499045" y="3893004"/>
                  <a:pt x="2495662" y="3899097"/>
                </a:cubicBezTo>
                <a:cubicBezTo>
                  <a:pt x="2478754" y="3899097"/>
                  <a:pt x="2461846" y="3899097"/>
                  <a:pt x="2444938" y="3899097"/>
                </a:cubicBezTo>
                <a:cubicBezTo>
                  <a:pt x="2424648" y="3877773"/>
                  <a:pt x="2424648" y="3880819"/>
                  <a:pt x="2414503" y="3902143"/>
                </a:cubicBezTo>
                <a:cubicBezTo>
                  <a:pt x="2411122" y="3902143"/>
                  <a:pt x="2411122" y="3905189"/>
                  <a:pt x="2407739" y="3905189"/>
                </a:cubicBezTo>
                <a:cubicBezTo>
                  <a:pt x="2400977" y="3902143"/>
                  <a:pt x="2394213" y="3899097"/>
                  <a:pt x="2387450" y="3896050"/>
                </a:cubicBezTo>
                <a:cubicBezTo>
                  <a:pt x="2380687" y="3886912"/>
                  <a:pt x="2370542" y="3886912"/>
                  <a:pt x="2360396" y="3889958"/>
                </a:cubicBezTo>
                <a:cubicBezTo>
                  <a:pt x="2350251" y="3896050"/>
                  <a:pt x="2340107" y="3896050"/>
                  <a:pt x="2333343" y="3889958"/>
                </a:cubicBezTo>
                <a:cubicBezTo>
                  <a:pt x="2326580" y="3889958"/>
                  <a:pt x="2316435" y="3889958"/>
                  <a:pt x="2313054" y="3889958"/>
                </a:cubicBezTo>
                <a:cubicBezTo>
                  <a:pt x="2302908" y="3899097"/>
                  <a:pt x="2292763" y="3899097"/>
                  <a:pt x="2282619" y="3896050"/>
                </a:cubicBezTo>
                <a:cubicBezTo>
                  <a:pt x="2272473" y="3896050"/>
                  <a:pt x="2265710" y="3896050"/>
                  <a:pt x="2258946" y="3896050"/>
                </a:cubicBezTo>
                <a:cubicBezTo>
                  <a:pt x="2252184" y="3914328"/>
                  <a:pt x="2255565" y="3932606"/>
                  <a:pt x="2221749" y="3929560"/>
                </a:cubicBezTo>
                <a:cubicBezTo>
                  <a:pt x="2218367" y="3926513"/>
                  <a:pt x="2211604" y="3920421"/>
                  <a:pt x="2208222" y="3914328"/>
                </a:cubicBezTo>
                <a:cubicBezTo>
                  <a:pt x="2201458" y="3905189"/>
                  <a:pt x="2194696" y="3896050"/>
                  <a:pt x="2177787" y="3902143"/>
                </a:cubicBezTo>
                <a:cubicBezTo>
                  <a:pt x="2177787" y="3905189"/>
                  <a:pt x="2171023" y="3899097"/>
                  <a:pt x="2167642" y="3899097"/>
                </a:cubicBezTo>
                <a:cubicBezTo>
                  <a:pt x="2164261" y="3896050"/>
                  <a:pt x="2160879" y="3893004"/>
                  <a:pt x="2157497" y="3889958"/>
                </a:cubicBezTo>
                <a:cubicBezTo>
                  <a:pt x="2150734" y="3899097"/>
                  <a:pt x="2147352" y="3902143"/>
                  <a:pt x="2143970" y="3908236"/>
                </a:cubicBezTo>
                <a:cubicBezTo>
                  <a:pt x="2137207" y="3908236"/>
                  <a:pt x="2127062" y="3908236"/>
                  <a:pt x="2123681" y="3899097"/>
                </a:cubicBezTo>
                <a:cubicBezTo>
                  <a:pt x="2120299" y="3889958"/>
                  <a:pt x="2110154" y="3889958"/>
                  <a:pt x="2103391" y="3889958"/>
                </a:cubicBezTo>
                <a:cubicBezTo>
                  <a:pt x="2089864" y="3896050"/>
                  <a:pt x="2076338" y="3893004"/>
                  <a:pt x="2066193" y="3889958"/>
                </a:cubicBezTo>
                <a:cubicBezTo>
                  <a:pt x="2052666" y="3880819"/>
                  <a:pt x="2042521" y="3886912"/>
                  <a:pt x="2035758" y="3889958"/>
                </a:cubicBezTo>
                <a:cubicBezTo>
                  <a:pt x="2005323" y="3896050"/>
                  <a:pt x="1981651" y="3893004"/>
                  <a:pt x="1954598" y="3880819"/>
                </a:cubicBezTo>
                <a:cubicBezTo>
                  <a:pt x="1951216" y="3877773"/>
                  <a:pt x="1947835" y="3868634"/>
                  <a:pt x="1944453" y="3865588"/>
                </a:cubicBezTo>
                <a:cubicBezTo>
                  <a:pt x="1924163" y="3853402"/>
                  <a:pt x="1907255" y="3838171"/>
                  <a:pt x="1876820" y="3841217"/>
                </a:cubicBezTo>
                <a:cubicBezTo>
                  <a:pt x="1870056" y="3841217"/>
                  <a:pt x="1863293" y="3841217"/>
                  <a:pt x="1853148" y="3844264"/>
                </a:cubicBezTo>
                <a:cubicBezTo>
                  <a:pt x="1843003" y="3847310"/>
                  <a:pt x="1832858" y="3844264"/>
                  <a:pt x="1822713" y="3841217"/>
                </a:cubicBezTo>
                <a:cubicBezTo>
                  <a:pt x="1799042" y="3835125"/>
                  <a:pt x="1782133" y="3825986"/>
                  <a:pt x="1778752" y="3801616"/>
                </a:cubicBezTo>
                <a:cubicBezTo>
                  <a:pt x="1775370" y="3786384"/>
                  <a:pt x="1758462" y="3780292"/>
                  <a:pt x="1744935" y="3777245"/>
                </a:cubicBezTo>
                <a:cubicBezTo>
                  <a:pt x="1738172" y="3777245"/>
                  <a:pt x="1731409" y="3780292"/>
                  <a:pt x="1724645" y="3780292"/>
                </a:cubicBezTo>
                <a:cubicBezTo>
                  <a:pt x="1700974" y="3749829"/>
                  <a:pt x="1667157" y="3743736"/>
                  <a:pt x="1640104" y="3719366"/>
                </a:cubicBezTo>
                <a:cubicBezTo>
                  <a:pt x="1629959" y="3728505"/>
                  <a:pt x="1626577" y="3734597"/>
                  <a:pt x="1626577" y="3743736"/>
                </a:cubicBezTo>
                <a:cubicBezTo>
                  <a:pt x="1626577" y="3752875"/>
                  <a:pt x="1619814" y="3755921"/>
                  <a:pt x="1609669" y="3758968"/>
                </a:cubicBezTo>
                <a:cubicBezTo>
                  <a:pt x="1606287" y="3758968"/>
                  <a:pt x="1602906" y="3758968"/>
                  <a:pt x="1599524" y="3758968"/>
                </a:cubicBezTo>
                <a:cubicBezTo>
                  <a:pt x="1599524" y="3765060"/>
                  <a:pt x="1599524" y="3774199"/>
                  <a:pt x="1599524" y="3780292"/>
                </a:cubicBezTo>
                <a:cubicBezTo>
                  <a:pt x="1592761" y="3780292"/>
                  <a:pt x="1585997" y="3780292"/>
                  <a:pt x="1575852" y="3780292"/>
                </a:cubicBezTo>
                <a:cubicBezTo>
                  <a:pt x="1558944" y="3777245"/>
                  <a:pt x="1542036" y="3777245"/>
                  <a:pt x="1525127" y="3780292"/>
                </a:cubicBezTo>
                <a:cubicBezTo>
                  <a:pt x="1508219" y="3786384"/>
                  <a:pt x="1491311" y="3786384"/>
                  <a:pt x="1474403" y="3786384"/>
                </a:cubicBezTo>
                <a:cubicBezTo>
                  <a:pt x="1450731" y="3783338"/>
                  <a:pt x="1430441" y="3786384"/>
                  <a:pt x="1410151" y="3792477"/>
                </a:cubicBezTo>
                <a:cubicBezTo>
                  <a:pt x="1376335" y="3801616"/>
                  <a:pt x="1342518" y="3798569"/>
                  <a:pt x="1312083" y="3786384"/>
                </a:cubicBezTo>
                <a:cubicBezTo>
                  <a:pt x="1295175" y="3780292"/>
                  <a:pt x="1278267" y="3780292"/>
                  <a:pt x="1264740" y="3783338"/>
                </a:cubicBezTo>
                <a:cubicBezTo>
                  <a:pt x="1251213" y="3783338"/>
                  <a:pt x="1244450" y="3783338"/>
                  <a:pt x="1234305" y="3780292"/>
                </a:cubicBezTo>
                <a:cubicBezTo>
                  <a:pt x="1224160" y="3780292"/>
                  <a:pt x="1214015" y="3777245"/>
                  <a:pt x="1207252" y="3777245"/>
                </a:cubicBezTo>
                <a:cubicBezTo>
                  <a:pt x="1197107" y="3777245"/>
                  <a:pt x="1186962" y="3780292"/>
                  <a:pt x="1180198" y="3783338"/>
                </a:cubicBezTo>
                <a:cubicBezTo>
                  <a:pt x="1163290" y="3762014"/>
                  <a:pt x="1143000" y="3755921"/>
                  <a:pt x="1119329" y="3755921"/>
                </a:cubicBezTo>
                <a:cubicBezTo>
                  <a:pt x="1095657" y="3755921"/>
                  <a:pt x="1075367" y="3752875"/>
                  <a:pt x="1055077" y="3752875"/>
                </a:cubicBezTo>
                <a:cubicBezTo>
                  <a:pt x="1044932" y="3752875"/>
                  <a:pt x="1031406" y="3749829"/>
                  <a:pt x="1021261" y="3752875"/>
                </a:cubicBezTo>
                <a:cubicBezTo>
                  <a:pt x="970536" y="3762014"/>
                  <a:pt x="923193" y="3758968"/>
                  <a:pt x="875849" y="3746782"/>
                </a:cubicBezTo>
                <a:cubicBezTo>
                  <a:pt x="852178" y="3740690"/>
                  <a:pt x="831888" y="3731551"/>
                  <a:pt x="808216" y="3746782"/>
                </a:cubicBezTo>
                <a:cubicBezTo>
                  <a:pt x="808216" y="3749829"/>
                  <a:pt x="804835" y="3746782"/>
                  <a:pt x="801453" y="3746782"/>
                </a:cubicBezTo>
                <a:cubicBezTo>
                  <a:pt x="798071" y="3746782"/>
                  <a:pt x="791308" y="3746782"/>
                  <a:pt x="787926" y="3749829"/>
                </a:cubicBezTo>
                <a:cubicBezTo>
                  <a:pt x="784545" y="3752875"/>
                  <a:pt x="781163" y="3755921"/>
                  <a:pt x="774400" y="3752875"/>
                </a:cubicBezTo>
                <a:cubicBezTo>
                  <a:pt x="767636" y="3749829"/>
                  <a:pt x="757491" y="3746782"/>
                  <a:pt x="750728" y="3746782"/>
                </a:cubicBezTo>
                <a:cubicBezTo>
                  <a:pt x="743964" y="3743736"/>
                  <a:pt x="740583" y="3743736"/>
                  <a:pt x="737201" y="3743736"/>
                </a:cubicBezTo>
                <a:cubicBezTo>
                  <a:pt x="730438" y="3758968"/>
                  <a:pt x="727056" y="3774199"/>
                  <a:pt x="720293" y="3786384"/>
                </a:cubicBezTo>
                <a:cubicBezTo>
                  <a:pt x="713530" y="3789430"/>
                  <a:pt x="703385" y="3786384"/>
                  <a:pt x="700003" y="3789430"/>
                </a:cubicBezTo>
                <a:cubicBezTo>
                  <a:pt x="686476" y="3792477"/>
                  <a:pt x="679713" y="3780292"/>
                  <a:pt x="669568" y="3783338"/>
                </a:cubicBezTo>
                <a:cubicBezTo>
                  <a:pt x="662805" y="3786384"/>
                  <a:pt x="656041" y="3795523"/>
                  <a:pt x="652660" y="3795523"/>
                </a:cubicBezTo>
                <a:cubicBezTo>
                  <a:pt x="639133" y="3795523"/>
                  <a:pt x="635751" y="3807708"/>
                  <a:pt x="622225" y="3810754"/>
                </a:cubicBezTo>
                <a:cubicBezTo>
                  <a:pt x="618843" y="3804662"/>
                  <a:pt x="615462" y="3801616"/>
                  <a:pt x="612080" y="3792477"/>
                </a:cubicBezTo>
                <a:cubicBezTo>
                  <a:pt x="595172" y="3795523"/>
                  <a:pt x="581645" y="3792477"/>
                  <a:pt x="564737" y="3792477"/>
                </a:cubicBezTo>
                <a:cubicBezTo>
                  <a:pt x="554592" y="3789430"/>
                  <a:pt x="541065" y="3792477"/>
                  <a:pt x="524157" y="3789430"/>
                </a:cubicBezTo>
                <a:cubicBezTo>
                  <a:pt x="510630" y="3789430"/>
                  <a:pt x="497104" y="3786384"/>
                  <a:pt x="483577" y="3786384"/>
                </a:cubicBezTo>
                <a:cubicBezTo>
                  <a:pt x="476814" y="3786384"/>
                  <a:pt x="470050" y="3789430"/>
                  <a:pt x="459905" y="3789430"/>
                </a:cubicBezTo>
                <a:cubicBezTo>
                  <a:pt x="459905" y="3789430"/>
                  <a:pt x="456524" y="3792477"/>
                  <a:pt x="453142" y="3792477"/>
                </a:cubicBezTo>
                <a:cubicBezTo>
                  <a:pt x="442997" y="3789430"/>
                  <a:pt x="432852" y="3786384"/>
                  <a:pt x="426089" y="3783338"/>
                </a:cubicBezTo>
                <a:cubicBezTo>
                  <a:pt x="415944" y="3783338"/>
                  <a:pt x="412562" y="3795523"/>
                  <a:pt x="399036" y="3792477"/>
                </a:cubicBezTo>
                <a:cubicBezTo>
                  <a:pt x="392272" y="3789430"/>
                  <a:pt x="382127" y="3792477"/>
                  <a:pt x="371982" y="3792477"/>
                </a:cubicBezTo>
                <a:cubicBezTo>
                  <a:pt x="361837" y="3795523"/>
                  <a:pt x="355074" y="3795523"/>
                  <a:pt x="344929" y="3792477"/>
                </a:cubicBezTo>
                <a:cubicBezTo>
                  <a:pt x="331402" y="3786384"/>
                  <a:pt x="331402" y="3786384"/>
                  <a:pt x="321257" y="3798569"/>
                </a:cubicBezTo>
                <a:cubicBezTo>
                  <a:pt x="317876" y="3804662"/>
                  <a:pt x="307731" y="3807708"/>
                  <a:pt x="300967" y="3810754"/>
                </a:cubicBezTo>
                <a:cubicBezTo>
                  <a:pt x="284059" y="3819893"/>
                  <a:pt x="260388" y="3829032"/>
                  <a:pt x="240098" y="3816847"/>
                </a:cubicBezTo>
                <a:cubicBezTo>
                  <a:pt x="219808" y="3816847"/>
                  <a:pt x="199518" y="3807708"/>
                  <a:pt x="179228" y="3819893"/>
                </a:cubicBezTo>
                <a:cubicBezTo>
                  <a:pt x="172464" y="3829032"/>
                  <a:pt x="162320" y="3829032"/>
                  <a:pt x="148793" y="3825986"/>
                </a:cubicBezTo>
                <a:cubicBezTo>
                  <a:pt x="138648" y="3822940"/>
                  <a:pt x="125121" y="3819893"/>
                  <a:pt x="111595" y="3829032"/>
                </a:cubicBezTo>
                <a:cubicBezTo>
                  <a:pt x="104831" y="3835125"/>
                  <a:pt x="94686" y="3829032"/>
                  <a:pt x="84541" y="3835125"/>
                </a:cubicBezTo>
                <a:cubicBezTo>
                  <a:pt x="74396" y="3844264"/>
                  <a:pt x="67633" y="3832078"/>
                  <a:pt x="57488" y="3832078"/>
                </a:cubicBezTo>
                <a:cubicBezTo>
                  <a:pt x="54107" y="3832078"/>
                  <a:pt x="50725" y="3832078"/>
                  <a:pt x="47343" y="3835125"/>
                </a:cubicBezTo>
                <a:cubicBezTo>
                  <a:pt x="37198" y="3838171"/>
                  <a:pt x="23672" y="3838171"/>
                  <a:pt x="13527" y="3832078"/>
                </a:cubicBezTo>
                <a:cubicBezTo>
                  <a:pt x="10145" y="3829032"/>
                  <a:pt x="6763" y="3825986"/>
                  <a:pt x="0" y="3822940"/>
                </a:cubicBezTo>
                <a:cubicBezTo>
                  <a:pt x="0" y="3780292"/>
                  <a:pt x="0" y="3722412"/>
                  <a:pt x="0" y="3652348"/>
                </a:cubicBezTo>
                <a:lnTo>
                  <a:pt x="0" y="3592414"/>
                </a:lnTo>
                <a:lnTo>
                  <a:pt x="0" y="3557913"/>
                </a:lnTo>
                <a:close/>
              </a:path>
            </a:pathLst>
          </a:custGeom>
          <a:pattFill prst="pct75">
            <a:fgClr>
              <a:schemeClr val="bg2"/>
            </a:fgClr>
            <a:bgClr>
              <a:prstClr val="white"/>
            </a:bgClr>
          </a:pattFill>
        </p:spPr>
        <p:txBody>
          <a:bodyPr vert="horz" lIns="180000" tIns="93600" rIns="180000" bIns="93600" rtlCol="0">
            <a:normAutofit/>
          </a:bodyPr>
          <a:lstStyle>
            <a:lvl1pPr marL="0" indent="0">
              <a:buNone/>
              <a:defRPr lang="en-GB" sz="1400" baseline="0"/>
            </a:lvl1pPr>
          </a:lstStyle>
          <a:p>
            <a:pPr marL="342866" lvl="0" indent="-342866">
              <a:spcBef>
                <a:spcPts val="0"/>
              </a:spcBef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1580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9112695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9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6000" y="259200"/>
            <a:ext cx="11520000" cy="33855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6000" y="1522799"/>
            <a:ext cx="11520000" cy="45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35999" y="6541200"/>
            <a:ext cx="336000" cy="1116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694159-020E-4050-A07E-D2CBBD4BC98F}" type="slidenum">
              <a:rPr lang="en-US" sz="80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24000" y="6541200"/>
            <a:ext cx="10416000" cy="1116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|  25.02.2020  | Final Project | CIS-544 DATA MINING &amp; MACHINE LRNG | Max Franke  &amp; Damian </a:t>
            </a:r>
            <a:r>
              <a:rPr lang="en-US" sz="800" dirty="0" err="1">
                <a:solidFill>
                  <a:schemeClr val="tx1">
                    <a:lumMod val="90000"/>
                    <a:lumOff val="10000"/>
                  </a:schemeClr>
                </a:solidFill>
              </a:rPr>
              <a:t>Etchevest</a:t>
            </a:r>
            <a:endParaRPr lang="en-US" sz="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5240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63" r:id="rId2"/>
    <p:sldLayoutId id="2147483664" r:id="rId3"/>
    <p:sldLayoutId id="2147483649" r:id="rId4"/>
    <p:sldLayoutId id="2147483665" r:id="rId5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file:////var/folders/3l/6gvvskk539bc433_s88bv1240000gn/T/com.microsoft.Powerpoint/converted_emf.emf" TargetMode="Externa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image" Target="../media/image4.emf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oleObject" Target="../embeddings/oleObject4.bin"/><Relationship Id="rId2" Type="http://schemas.openxmlformats.org/officeDocument/2006/relationships/tags" Target="../tags/tag6.xml"/><Relationship Id="rId16" Type="http://schemas.openxmlformats.org/officeDocument/2006/relationships/slide" Target="slide2.xml"/><Relationship Id="rId1" Type="http://schemas.openxmlformats.org/officeDocument/2006/relationships/vmlDrawing" Target="../drawings/vmlDrawing4.v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slide" Target="slide4.xml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slide" Target="slide2.xml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slide" Target="slide2.xml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slide" Target="slide2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892CD4CF-482B-5E4A-99B9-96A6F62D47B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22" b="8122"/>
          <a:stretch>
            <a:fillRect/>
          </a:stretch>
        </p:blipFill>
        <p:spPr/>
      </p:pic>
      <p:grpSp>
        <p:nvGrpSpPr>
          <p:cNvPr id="6" name="Group 5"/>
          <p:cNvGrpSpPr/>
          <p:nvPr/>
        </p:nvGrpSpPr>
        <p:grpSpPr>
          <a:xfrm>
            <a:off x="1127448" y="4447856"/>
            <a:ext cx="9937103" cy="1276458"/>
            <a:chOff x="336431" y="4447856"/>
            <a:chExt cx="8471139" cy="1276458"/>
          </a:xfrm>
        </p:grpSpPr>
        <p:grpSp>
          <p:nvGrpSpPr>
            <p:cNvPr id="3" name="Group 2"/>
            <p:cNvGrpSpPr/>
            <p:nvPr/>
          </p:nvGrpSpPr>
          <p:grpSpPr>
            <a:xfrm>
              <a:off x="585000" y="4447856"/>
              <a:ext cx="7974000" cy="1230725"/>
              <a:chOff x="585000" y="4447856"/>
              <a:chExt cx="7974000" cy="1230725"/>
            </a:xfrm>
          </p:grpSpPr>
          <p:sp>
            <p:nvSpPr>
              <p:cNvPr id="40" name="Rectangle 39"/>
              <p:cNvSpPr/>
              <p:nvPr/>
            </p:nvSpPr>
            <p:spPr>
              <a:xfrm>
                <a:off x="585000" y="5030069"/>
                <a:ext cx="7974000" cy="648512"/>
              </a:xfrm>
              <a:prstGeom prst="rect">
                <a:avLst/>
              </a:prstGeom>
              <a:solidFill>
                <a:schemeClr val="accent1"/>
              </a:solidFill>
              <a:ln/>
            </p:spPr>
            <p:txBody>
              <a:bodyPr wrap="square" lIns="90000" tIns="46800" rIns="90000" bIns="46800" anchor="t">
                <a:spAutoFit/>
              </a:bodyPr>
              <a:lstStyle/>
              <a:p>
                <a:pPr algn="ctr"/>
                <a:r>
                  <a:rPr lang="en-GB" cap="all" spc="20" dirty="0">
                    <a:solidFill>
                      <a:srgbClr val="FFFFFF"/>
                    </a:solidFill>
                  </a:rPr>
                  <a:t>25.02.2020  |  Final Project | CIS-544 DATA MINING &amp; MACHINE LRNG | Max Franke  &amp; Damian </a:t>
                </a:r>
                <a:r>
                  <a:rPr lang="en-GB" cap="all" spc="20" dirty="0" err="1">
                    <a:solidFill>
                      <a:srgbClr val="FFFFFF"/>
                    </a:solidFill>
                  </a:rPr>
                  <a:t>Etchevest</a:t>
                </a:r>
                <a:endParaRPr lang="en-GB" cap="all" spc="2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Rectangle 45"/>
              <p:cNvSpPr/>
              <p:nvPr/>
            </p:nvSpPr>
            <p:spPr>
              <a:xfrm>
                <a:off x="585000" y="4447856"/>
                <a:ext cx="7974000" cy="586957"/>
              </a:xfrm>
              <a:prstGeom prst="rect">
                <a:avLst/>
              </a:prstGeom>
              <a:noFill/>
              <a:ln/>
            </p:spPr>
            <p:txBody>
              <a:bodyPr vert="horz" wrap="square" lIns="90000" tIns="46800" rIns="90000" bIns="46800" rtlCol="0" anchor="b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en-GB" sz="3200" b="1" cap="all" spc="20" dirty="0">
                    <a:latin typeface="+mj-lt"/>
                    <a:cs typeface="+mj-cs"/>
                  </a:rPr>
                  <a:t>Stocks competition</a:t>
                </a:r>
              </a:p>
            </p:txBody>
          </p:sp>
        </p:grpSp>
        <p:grpSp>
          <p:nvGrpSpPr>
            <p:cNvPr id="2" name="Group 1"/>
            <p:cNvGrpSpPr/>
            <p:nvPr/>
          </p:nvGrpSpPr>
          <p:grpSpPr>
            <a:xfrm>
              <a:off x="336431" y="4447856"/>
              <a:ext cx="8471139" cy="1276458"/>
              <a:chOff x="336431" y="4447856"/>
              <a:chExt cx="8471139" cy="1276458"/>
            </a:xfrm>
          </p:grpSpPr>
          <p:grpSp>
            <p:nvGrpSpPr>
              <p:cNvPr id="54" name="Group 53"/>
              <p:cNvGrpSpPr/>
              <p:nvPr/>
            </p:nvGrpSpPr>
            <p:grpSpPr>
              <a:xfrm>
                <a:off x="586766" y="4447856"/>
                <a:ext cx="7970468" cy="1276458"/>
                <a:chOff x="585000" y="4447856"/>
                <a:chExt cx="7970468" cy="1276458"/>
              </a:xfrm>
            </p:grpSpPr>
            <p:cxnSp>
              <p:nvCxnSpPr>
                <p:cNvPr id="50" name="Straight Connector 49"/>
                <p:cNvCxnSpPr/>
                <p:nvPr/>
              </p:nvCxnSpPr>
              <p:spPr>
                <a:xfrm>
                  <a:off x="585000" y="4447856"/>
                  <a:ext cx="0" cy="1276458"/>
                </a:xfrm>
                <a:prstGeom prst="line">
                  <a:avLst/>
                </a:prstGeom>
                <a:ln w="12700" cap="sq">
                  <a:solidFill>
                    <a:schemeClr val="tx1"/>
                  </a:solidFill>
                  <a:prstDash val="dash"/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3">
                  <a:schemeClr val="accent1"/>
                </a:lnRef>
                <a:fillRef idx="0">
                  <a:schemeClr val="accent1"/>
                </a:fillRef>
                <a:effectRef idx="2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Straight Connector 50"/>
                <p:cNvCxnSpPr/>
                <p:nvPr/>
              </p:nvCxnSpPr>
              <p:spPr>
                <a:xfrm>
                  <a:off x="8555468" y="4447856"/>
                  <a:ext cx="0" cy="1276458"/>
                </a:xfrm>
                <a:prstGeom prst="line">
                  <a:avLst/>
                </a:prstGeom>
                <a:ln w="12700" cap="sq">
                  <a:solidFill>
                    <a:schemeClr val="tx1"/>
                  </a:solidFill>
                  <a:prstDash val="dash"/>
                  <a:miter lim="800000"/>
                  <a:headEnd type="none" w="med" len="med"/>
                  <a:tailEnd type="none" w="med" len="med"/>
                </a:ln>
                <a:effectLst/>
              </p:spPr>
              <p:style>
                <a:lnRef idx="3">
                  <a:schemeClr val="accent1"/>
                </a:lnRef>
                <a:fillRef idx="0">
                  <a:schemeClr val="accent1"/>
                </a:fillRef>
                <a:effectRef idx="2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52" name="Straight Connector 51"/>
              <p:cNvCxnSpPr>
                <a:cxnSpLocks/>
              </p:cNvCxnSpPr>
              <p:nvPr/>
            </p:nvCxnSpPr>
            <p:spPr>
              <a:xfrm>
                <a:off x="336431" y="5030069"/>
                <a:ext cx="8471139" cy="0"/>
              </a:xfrm>
              <a:prstGeom prst="line">
                <a:avLst/>
              </a:prstGeom>
              <a:ln w="12700" cap="sq">
                <a:solidFill>
                  <a:schemeClr val="tx1"/>
                </a:solidFill>
                <a:prstDash val="dash"/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5" name="Grafik 4">
            <a:extLst>
              <a:ext uri="{FF2B5EF4-FFF2-40B4-BE49-F238E27FC236}">
                <a16:creationId xmlns:a16="http://schemas.microsoft.com/office/drawing/2014/main" id="{2B09FC4A-2212-8F43-9297-BD8637298DE6}"/>
              </a:ext>
            </a:extLst>
          </p:cNvPr>
          <p:cNvPicPr>
            <a:picLocks noChangeAspect="1"/>
          </p:cNvPicPr>
          <p:nvPr/>
        </p:nvPicPr>
        <p:blipFill>
          <a:blip r:link="rId3"/>
          <a:stretch>
            <a:fillRect/>
          </a:stretch>
        </p:blipFill>
        <p:spPr>
          <a:xfrm>
            <a:off x="1270000" y="1270000"/>
            <a:ext cx="63500" cy="7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1420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942D7837-7DF8-BA41-9527-1EDD8C10E1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2656484"/>
            <a:ext cx="11855999" cy="359073"/>
          </a:xfrm>
          <a:prstGeom prst="rect">
            <a:avLst/>
          </a:prstGeom>
          <a:solidFill>
            <a:srgbClr val="C166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n>
                <a:noFill/>
              </a:ln>
              <a:solidFill>
                <a:srgbClr val="4B5564"/>
              </a:solidFill>
              <a:latin typeface="TKTypeMedium" panose="020B0606030201060204" pitchFamily="34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1CE12BA-3F5D-DE4B-9306-0BA71415CD5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906" y="2106910"/>
            <a:ext cx="11855999" cy="359073"/>
          </a:xfrm>
          <a:prstGeom prst="rect">
            <a:avLst/>
          </a:prstGeom>
          <a:solidFill>
            <a:srgbClr val="48A9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n>
                <a:noFill/>
              </a:ln>
              <a:solidFill>
                <a:srgbClr val="4B5564"/>
              </a:solidFill>
              <a:latin typeface="TKTypeMedium" panose="020B0606030201060204" pitchFamily="34" charset="0"/>
            </a:endParaRPr>
          </a:p>
        </p:txBody>
      </p:sp>
      <p:sp>
        <p:nvSpPr>
          <p:cNvPr id="10" name="Rechteck 9">
            <a:hlinkClick r:id="" action="ppaction://noaction"/>
          </p:cNvPr>
          <p:cNvSpPr/>
          <p:nvPr>
            <p:custDataLst>
              <p:tags r:id="rId5"/>
            </p:custDataLst>
          </p:nvPr>
        </p:nvSpPr>
        <p:spPr>
          <a:xfrm>
            <a:off x="844000" y="2656484"/>
            <a:ext cx="2522358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TKTypeMedium" panose="020B0606030201060204" pitchFamily="34" charset="0"/>
              </a:rPr>
              <a:t>Algorithms</a:t>
            </a:r>
            <a:endParaRPr lang="en-US" sz="1600" dirty="0">
              <a:ln>
                <a:noFill/>
              </a:ln>
              <a:solidFill>
                <a:schemeClr val="bg1"/>
              </a:solidFill>
              <a:latin typeface="TKTypeMedium" panose="020B0606030201060204" pitchFamily="34" charset="0"/>
            </a:endParaRPr>
          </a:p>
        </p:txBody>
      </p:sp>
      <p:sp>
        <p:nvSpPr>
          <p:cNvPr id="9" name="Rechteck 8">
            <a:hlinkClick r:id="" action="ppaction://noaction"/>
          </p:cNvPr>
          <p:cNvSpPr/>
          <p:nvPr>
            <p:custDataLst>
              <p:tags r:id="rId6"/>
            </p:custDataLst>
          </p:nvPr>
        </p:nvSpPr>
        <p:spPr>
          <a:xfrm>
            <a:off x="336000" y="2656484"/>
            <a:ext cx="50800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>
                <a:ln>
                  <a:noFill/>
                </a:ln>
                <a:solidFill>
                  <a:schemeClr val="bg1"/>
                </a:solidFill>
                <a:latin typeface="TKTypeMedium" panose="020B0606030201060204" pitchFamily="34" charset="0"/>
              </a:rPr>
              <a:t>3</a:t>
            </a:r>
          </a:p>
        </p:txBody>
      </p:sp>
      <p:sp>
        <p:nvSpPr>
          <p:cNvPr id="8" name="Rechteck 7">
            <a:hlinkClick r:id="rId15" action="ppaction://hlinksldjump"/>
          </p:cNvPr>
          <p:cNvSpPr/>
          <p:nvPr>
            <p:custDataLst>
              <p:tags r:id="rId7"/>
            </p:custDataLst>
          </p:nvPr>
        </p:nvSpPr>
        <p:spPr>
          <a:xfrm>
            <a:off x="844000" y="2106911"/>
            <a:ext cx="651214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TKTypeMedium" panose="020B0606030201060204" pitchFamily="34" charset="0"/>
              </a:rPr>
              <a:t>Approach</a:t>
            </a:r>
            <a:endParaRPr lang="en-US" sz="1600" dirty="0">
              <a:ln>
                <a:noFill/>
              </a:ln>
              <a:solidFill>
                <a:schemeClr val="bg1"/>
              </a:solidFill>
              <a:latin typeface="TKTypeMedium" panose="020B0606030201060204" pitchFamily="34" charset="0"/>
            </a:endParaRPr>
          </a:p>
        </p:txBody>
      </p:sp>
      <p:sp>
        <p:nvSpPr>
          <p:cNvPr id="7" name="Rechteck 6">
            <a:hlinkClick r:id="rId15" action="ppaction://hlinksldjump"/>
          </p:cNvPr>
          <p:cNvSpPr/>
          <p:nvPr>
            <p:custDataLst>
              <p:tags r:id="rId8"/>
            </p:custDataLst>
          </p:nvPr>
        </p:nvSpPr>
        <p:spPr>
          <a:xfrm>
            <a:off x="336000" y="2106911"/>
            <a:ext cx="50800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>
                <a:ln>
                  <a:noFill/>
                </a:ln>
                <a:solidFill>
                  <a:schemeClr val="bg1"/>
                </a:solidFill>
                <a:latin typeface="TKTypeMedium" panose="020B0606030201060204" pitchFamily="34" charset="0"/>
              </a:rPr>
              <a:t>2</a:t>
            </a:r>
          </a:p>
        </p:txBody>
      </p:sp>
      <p:sp>
        <p:nvSpPr>
          <p:cNvPr id="6" name="Rechteck 5"/>
          <p:cNvSpPr/>
          <p:nvPr>
            <p:custDataLst>
              <p:tags r:id="rId9"/>
            </p:custDataLst>
          </p:nvPr>
        </p:nvSpPr>
        <p:spPr>
          <a:xfrm>
            <a:off x="0" y="1557338"/>
            <a:ext cx="11855999" cy="3590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n>
                <a:noFill/>
              </a:ln>
              <a:solidFill>
                <a:srgbClr val="4B5564"/>
              </a:solidFill>
              <a:latin typeface="TKTypeMedium" panose="020B0606030201060204" pitchFamily="34" charset="0"/>
            </a:endParaRPr>
          </a:p>
        </p:txBody>
      </p:sp>
      <p:sp>
        <p:nvSpPr>
          <p:cNvPr id="5" name="Rechteck 4">
            <a:hlinkClick r:id="rId16" action="ppaction://hlinksldjump"/>
          </p:cNvPr>
          <p:cNvSpPr/>
          <p:nvPr>
            <p:custDataLst>
              <p:tags r:id="rId10"/>
            </p:custDataLst>
          </p:nvPr>
        </p:nvSpPr>
        <p:spPr>
          <a:xfrm>
            <a:off x="844000" y="1557338"/>
            <a:ext cx="2522358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ln>
                  <a:noFill/>
                </a:ln>
                <a:solidFill>
                  <a:srgbClr val="FFFFFF"/>
                </a:solidFill>
                <a:latin typeface="TKTypeMedium" panose="020B0606030201060204" pitchFamily="34" charset="0"/>
              </a:rPr>
              <a:t>Theory background</a:t>
            </a:r>
          </a:p>
        </p:txBody>
      </p:sp>
      <p:sp>
        <p:nvSpPr>
          <p:cNvPr id="4" name="Rechteck 3">
            <a:hlinkClick r:id="rId16" action="ppaction://hlinksldjump"/>
          </p:cNvPr>
          <p:cNvSpPr/>
          <p:nvPr>
            <p:custDataLst>
              <p:tags r:id="rId11"/>
            </p:custDataLst>
          </p:nvPr>
        </p:nvSpPr>
        <p:spPr>
          <a:xfrm>
            <a:off x="336000" y="1557338"/>
            <a:ext cx="50800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>
                <a:ln>
                  <a:noFill/>
                </a:ln>
                <a:solidFill>
                  <a:srgbClr val="FFFFFF"/>
                </a:solidFill>
                <a:latin typeface="TKTypeMedium" panose="020B0606030201060204" pitchFamily="34" charset="0"/>
              </a:rPr>
              <a:t>1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graphicFrame>
        <p:nvGraphicFramePr>
          <p:cNvPr id="24" name="Objekt 23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1797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04" name="think-cell Folie" r:id="rId17" imgW="359" imgH="360" progId="TCLayout.ActiveDocument.1">
                  <p:embed/>
                </p:oleObj>
              </mc:Choice>
              <mc:Fallback>
                <p:oleObj name="think-cell Folie" r:id="rId17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6789755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17D7F0-E07A-F243-A299-D73A2494E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A, Time Series and diverse indicator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64A25F8-A027-AF4C-B66A-3877B68CCF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ote: maybe a picture from yahoo? So you can explain it?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21A48B0-2217-CD4E-BF26-D19F9127A24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9A7F87-E7B5-A64E-960C-AA60BD6645B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796301" y="52029"/>
            <a:ext cx="3395700" cy="3590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n>
                <a:noFill/>
              </a:ln>
              <a:solidFill>
                <a:srgbClr val="4B5564"/>
              </a:solidFill>
              <a:latin typeface="TKTypeMedium" panose="020B0606030201060204" pitchFamily="34" charset="0"/>
            </a:endParaRPr>
          </a:p>
        </p:txBody>
      </p:sp>
      <p:sp>
        <p:nvSpPr>
          <p:cNvPr id="6" name="Rechteck 5">
            <a:hlinkClick r:id="rId5" action="ppaction://hlinksldjump"/>
            <a:extLst>
              <a:ext uri="{FF2B5EF4-FFF2-40B4-BE49-F238E27FC236}">
                <a16:creationId xmlns:a16="http://schemas.microsoft.com/office/drawing/2014/main" id="{B5564577-3AE5-B448-981D-375ABACA8DA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640300" y="34813"/>
            <a:ext cx="2522358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ln>
                  <a:noFill/>
                </a:ln>
                <a:solidFill>
                  <a:srgbClr val="FFFFFF"/>
                </a:solidFill>
                <a:latin typeface="TKTypeMedium" panose="020B0606030201060204" pitchFamily="34" charset="0"/>
              </a:rPr>
              <a:t>Theory background</a:t>
            </a:r>
          </a:p>
        </p:txBody>
      </p:sp>
      <p:sp>
        <p:nvSpPr>
          <p:cNvPr id="7" name="Rechteck 6">
            <a:hlinkClick r:id="rId5" action="ppaction://hlinksldjump"/>
            <a:extLst>
              <a:ext uri="{FF2B5EF4-FFF2-40B4-BE49-F238E27FC236}">
                <a16:creationId xmlns:a16="http://schemas.microsoft.com/office/drawing/2014/main" id="{47AE084B-D554-3F4E-9C3B-0DD3C3E012B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132300" y="34813"/>
            <a:ext cx="50800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>
                <a:ln>
                  <a:noFill/>
                </a:ln>
                <a:solidFill>
                  <a:srgbClr val="FFFFFF"/>
                </a:solidFill>
                <a:latin typeface="TKTypeMedium" panose="020B060603020106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5446766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17D7F0-E07A-F243-A299-D73A2494E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ucture of the Scri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21A48B0-2217-CD4E-BF26-D19F9127A24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9A7F87-E7B5-A64E-960C-AA60BD6645B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796301" y="52029"/>
            <a:ext cx="3395700" cy="359073"/>
          </a:xfrm>
          <a:prstGeom prst="rect">
            <a:avLst/>
          </a:prstGeom>
          <a:solidFill>
            <a:srgbClr val="48A9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n>
                <a:noFill/>
              </a:ln>
              <a:solidFill>
                <a:srgbClr val="4B5564"/>
              </a:solidFill>
              <a:latin typeface="TKTypeMedium" panose="020B0606030201060204" pitchFamily="34" charset="0"/>
            </a:endParaRPr>
          </a:p>
        </p:txBody>
      </p:sp>
      <p:sp>
        <p:nvSpPr>
          <p:cNvPr id="6" name="Rechteck 5">
            <a:hlinkClick r:id="rId5" action="ppaction://hlinksldjump"/>
            <a:extLst>
              <a:ext uri="{FF2B5EF4-FFF2-40B4-BE49-F238E27FC236}">
                <a16:creationId xmlns:a16="http://schemas.microsoft.com/office/drawing/2014/main" id="{B5564577-3AE5-B448-981D-375ABACA8DA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640300" y="34813"/>
            <a:ext cx="2522358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ln>
                  <a:noFill/>
                </a:ln>
                <a:solidFill>
                  <a:srgbClr val="FFFFFF"/>
                </a:solidFill>
                <a:latin typeface="TKTypeMedium" panose="020B0606030201060204" pitchFamily="34" charset="0"/>
              </a:rPr>
              <a:t>Approach</a:t>
            </a:r>
          </a:p>
        </p:txBody>
      </p:sp>
      <p:sp>
        <p:nvSpPr>
          <p:cNvPr id="7" name="Rechteck 6">
            <a:hlinkClick r:id="rId5" action="ppaction://hlinksldjump"/>
            <a:extLst>
              <a:ext uri="{FF2B5EF4-FFF2-40B4-BE49-F238E27FC236}">
                <a16:creationId xmlns:a16="http://schemas.microsoft.com/office/drawing/2014/main" id="{47AE084B-D554-3F4E-9C3B-0DD3C3E012B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132300" y="34813"/>
            <a:ext cx="50800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solidFill>
                  <a:srgbClr val="FFFFFF"/>
                </a:solidFill>
                <a:latin typeface="TKTypeMedium" panose="020B0606030201060204" pitchFamily="34" charset="0"/>
              </a:rPr>
              <a:t>2</a:t>
            </a:r>
            <a:endParaRPr lang="de-DE" sz="1600" dirty="0">
              <a:ln>
                <a:noFill/>
              </a:ln>
              <a:solidFill>
                <a:srgbClr val="FFFFFF"/>
              </a:solidFill>
              <a:latin typeface="TKTypeMedium" panose="020B0606030201060204" pitchFamily="34" charset="0"/>
            </a:endParaRPr>
          </a:p>
        </p:txBody>
      </p:sp>
      <p:sp>
        <p:nvSpPr>
          <p:cNvPr id="37" name="Rectangle 35">
            <a:extLst>
              <a:ext uri="{FF2B5EF4-FFF2-40B4-BE49-F238E27FC236}">
                <a16:creationId xmlns:a16="http://schemas.microsoft.com/office/drawing/2014/main" id="{CA04EFAF-457F-1E41-902D-7D8E4898A85E}"/>
              </a:ext>
            </a:extLst>
          </p:cNvPr>
          <p:cNvSpPr/>
          <p:nvPr/>
        </p:nvSpPr>
        <p:spPr>
          <a:xfrm flipV="1">
            <a:off x="0" y="950949"/>
            <a:ext cx="12192000" cy="13050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21" tIns="93611" rIns="180021" bIns="93611" rtlCol="0" anchor="ctr"/>
          <a:lstStyle/>
          <a:p>
            <a:pPr algn="ctr"/>
            <a:endParaRPr lang="en-GB" sz="3600" spc="40"/>
          </a:p>
        </p:txBody>
      </p:sp>
      <p:sp>
        <p:nvSpPr>
          <p:cNvPr id="38" name="Rectangle 38">
            <a:extLst>
              <a:ext uri="{FF2B5EF4-FFF2-40B4-BE49-F238E27FC236}">
                <a16:creationId xmlns:a16="http://schemas.microsoft.com/office/drawing/2014/main" id="{2D559CB3-7649-344A-BB58-6614B1709A19}"/>
              </a:ext>
            </a:extLst>
          </p:cNvPr>
          <p:cNvSpPr/>
          <p:nvPr/>
        </p:nvSpPr>
        <p:spPr>
          <a:xfrm flipV="1">
            <a:off x="0" y="2456892"/>
            <a:ext cx="12192000" cy="132871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noFill/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21" tIns="93611" rIns="180021" bIns="93611" rtlCol="0" anchor="ctr"/>
          <a:lstStyle/>
          <a:p>
            <a:pPr algn="ctr"/>
            <a:endParaRPr lang="en-GB" sz="3600" spc="40"/>
          </a:p>
        </p:txBody>
      </p:sp>
      <p:sp>
        <p:nvSpPr>
          <p:cNvPr id="39" name="Rectangle 35">
            <a:extLst>
              <a:ext uri="{FF2B5EF4-FFF2-40B4-BE49-F238E27FC236}">
                <a16:creationId xmlns:a16="http://schemas.microsoft.com/office/drawing/2014/main" id="{B99C3287-7489-2747-A9C6-686CDF410A69}"/>
              </a:ext>
            </a:extLst>
          </p:cNvPr>
          <p:cNvSpPr/>
          <p:nvPr/>
        </p:nvSpPr>
        <p:spPr>
          <a:xfrm rot="10800000" flipV="1">
            <a:off x="152400" y="1181720"/>
            <a:ext cx="2703240" cy="868014"/>
          </a:xfrm>
          <a:prstGeom prst="roundRect">
            <a:avLst/>
          </a:prstGeom>
          <a:solidFill>
            <a:schemeClr val="bg1"/>
          </a:solidFill>
          <a:ln w="19050">
            <a:noFill/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21" tIns="93611" rIns="180021" bIns="93611" rtlCol="0" anchor="ctr"/>
          <a:lstStyle/>
          <a:p>
            <a:pPr algn="ctr"/>
            <a:r>
              <a:rPr lang="en-GB" sz="3200" spc="40" dirty="0">
                <a:solidFill>
                  <a:schemeClr val="accent1"/>
                </a:solidFill>
              </a:rPr>
              <a:t>Preparation</a:t>
            </a:r>
          </a:p>
        </p:txBody>
      </p:sp>
      <p:sp>
        <p:nvSpPr>
          <p:cNvPr id="40" name="Rectangle 35">
            <a:extLst>
              <a:ext uri="{FF2B5EF4-FFF2-40B4-BE49-F238E27FC236}">
                <a16:creationId xmlns:a16="http://schemas.microsoft.com/office/drawing/2014/main" id="{3B3F62F8-F77F-9348-A822-7E40D539245B}"/>
              </a:ext>
            </a:extLst>
          </p:cNvPr>
          <p:cNvSpPr/>
          <p:nvPr/>
        </p:nvSpPr>
        <p:spPr>
          <a:xfrm rot="10800000" flipV="1">
            <a:off x="3391717" y="1038094"/>
            <a:ext cx="8647884" cy="1094761"/>
          </a:xfrm>
          <a:prstGeom prst="rect">
            <a:avLst/>
          </a:prstGeom>
          <a:solidFill>
            <a:schemeClr val="bg1"/>
          </a:solidFill>
          <a:ln w="19050">
            <a:noFill/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21" tIns="93611" rIns="180021" bIns="93611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spc="40" dirty="0">
                <a:solidFill>
                  <a:schemeClr val="accent1"/>
                </a:solidFill>
              </a:rPr>
              <a:t>Load libra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spc="40" dirty="0">
                <a:solidFill>
                  <a:schemeClr val="accent1"/>
                </a:solidFill>
              </a:rPr>
              <a:t>Define constant variables (e.g. Symbols &amp; Keys)</a:t>
            </a:r>
          </a:p>
        </p:txBody>
      </p:sp>
      <p:sp>
        <p:nvSpPr>
          <p:cNvPr id="41" name="Rectangle 35">
            <a:extLst>
              <a:ext uri="{FF2B5EF4-FFF2-40B4-BE49-F238E27FC236}">
                <a16:creationId xmlns:a16="http://schemas.microsoft.com/office/drawing/2014/main" id="{D494913A-0C52-9140-AC62-97FA89A27E42}"/>
              </a:ext>
            </a:extLst>
          </p:cNvPr>
          <p:cNvSpPr/>
          <p:nvPr/>
        </p:nvSpPr>
        <p:spPr>
          <a:xfrm rot="10800000" flipV="1">
            <a:off x="152400" y="2687544"/>
            <a:ext cx="2703240" cy="868014"/>
          </a:xfrm>
          <a:prstGeom prst="roundRect">
            <a:avLst/>
          </a:prstGeom>
          <a:solidFill>
            <a:schemeClr val="bg1"/>
          </a:solidFill>
          <a:ln w="19050">
            <a:noFill/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21" tIns="93611" rIns="180021" bIns="93611" rtlCol="0" anchor="ctr"/>
          <a:lstStyle/>
          <a:p>
            <a:pPr algn="ctr"/>
            <a:r>
              <a:rPr lang="en-GB" sz="3200" spc="40" dirty="0">
                <a:solidFill>
                  <a:schemeClr val="accent1"/>
                </a:solidFill>
              </a:rPr>
              <a:t>Global Functions</a:t>
            </a:r>
          </a:p>
        </p:txBody>
      </p:sp>
      <p:sp>
        <p:nvSpPr>
          <p:cNvPr id="42" name="Rectangle 35">
            <a:extLst>
              <a:ext uri="{FF2B5EF4-FFF2-40B4-BE49-F238E27FC236}">
                <a16:creationId xmlns:a16="http://schemas.microsoft.com/office/drawing/2014/main" id="{58851A2A-DAEE-6746-A062-65D9CFF295B0}"/>
              </a:ext>
            </a:extLst>
          </p:cNvPr>
          <p:cNvSpPr/>
          <p:nvPr/>
        </p:nvSpPr>
        <p:spPr>
          <a:xfrm rot="10800000" flipV="1">
            <a:off x="3391717" y="2543918"/>
            <a:ext cx="8647884" cy="1094761"/>
          </a:xfrm>
          <a:prstGeom prst="rect">
            <a:avLst/>
          </a:prstGeom>
          <a:solidFill>
            <a:schemeClr val="bg1"/>
          </a:solidFill>
          <a:ln w="19050">
            <a:noFill/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21" tIns="93611" rIns="180021" bIns="93611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spc="40" dirty="0">
                <a:solidFill>
                  <a:schemeClr val="accent1"/>
                </a:solidFill>
              </a:rPr>
              <a:t>Get the Pr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spc="40" dirty="0">
                <a:solidFill>
                  <a:schemeClr val="accent1"/>
                </a:solidFill>
              </a:rPr>
              <a:t>Calculate the degree of a slop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spc="40" dirty="0">
                <a:solidFill>
                  <a:schemeClr val="accent1"/>
                </a:solidFill>
              </a:rPr>
              <a:t>Buy / Sell call (quantity to buy and symbol to buy as variabl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spc="40" dirty="0">
                <a:solidFill>
                  <a:schemeClr val="accent1"/>
                </a:solidFill>
              </a:rPr>
              <a:t>Indicators (slope for EMA’s, EMA’s, RSI, bb, stochastic, </a:t>
            </a:r>
            <a:r>
              <a:rPr lang="en-GB" sz="1400" spc="40" dirty="0" err="1">
                <a:solidFill>
                  <a:schemeClr val="accent1"/>
                </a:solidFill>
              </a:rPr>
              <a:t>macd</a:t>
            </a:r>
            <a:r>
              <a:rPr lang="en-GB" sz="1400" spc="40" dirty="0">
                <a:solidFill>
                  <a:schemeClr val="accent1"/>
                </a:solidFill>
              </a:rPr>
              <a:t> etc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spc="40" dirty="0">
                <a:solidFill>
                  <a:schemeClr val="accent1"/>
                </a:solidFill>
              </a:rPr>
              <a:t>Time Series</a:t>
            </a:r>
          </a:p>
        </p:txBody>
      </p:sp>
      <p:sp>
        <p:nvSpPr>
          <p:cNvPr id="43" name="Rectangle 38">
            <a:extLst>
              <a:ext uri="{FF2B5EF4-FFF2-40B4-BE49-F238E27FC236}">
                <a16:creationId xmlns:a16="http://schemas.microsoft.com/office/drawing/2014/main" id="{58B38A76-4E26-4C4C-B39C-06C38F841352}"/>
              </a:ext>
            </a:extLst>
          </p:cNvPr>
          <p:cNvSpPr/>
          <p:nvPr/>
        </p:nvSpPr>
        <p:spPr>
          <a:xfrm flipV="1">
            <a:off x="0" y="3986518"/>
            <a:ext cx="12192000" cy="13287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noFill/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21" tIns="93611" rIns="180021" bIns="93611" rtlCol="0" anchor="ctr"/>
          <a:lstStyle/>
          <a:p>
            <a:pPr algn="ctr"/>
            <a:endParaRPr lang="en-GB" sz="3600" spc="40"/>
          </a:p>
        </p:txBody>
      </p:sp>
      <p:sp>
        <p:nvSpPr>
          <p:cNvPr id="44" name="Rectangle 35">
            <a:extLst>
              <a:ext uri="{FF2B5EF4-FFF2-40B4-BE49-F238E27FC236}">
                <a16:creationId xmlns:a16="http://schemas.microsoft.com/office/drawing/2014/main" id="{80CAB35E-6DB6-E84E-9A38-9500733A68B2}"/>
              </a:ext>
            </a:extLst>
          </p:cNvPr>
          <p:cNvSpPr/>
          <p:nvPr/>
        </p:nvSpPr>
        <p:spPr>
          <a:xfrm rot="10800000" flipV="1">
            <a:off x="152400" y="4217170"/>
            <a:ext cx="2703240" cy="868014"/>
          </a:xfrm>
          <a:prstGeom prst="roundRect">
            <a:avLst/>
          </a:prstGeom>
          <a:solidFill>
            <a:schemeClr val="bg1"/>
          </a:solidFill>
          <a:ln w="19050">
            <a:noFill/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21" tIns="93611" rIns="180021" bIns="93611" rtlCol="0" anchor="ctr"/>
          <a:lstStyle/>
          <a:p>
            <a:pPr algn="ctr"/>
            <a:r>
              <a:rPr lang="en-GB" sz="3200" spc="40" dirty="0">
                <a:solidFill>
                  <a:schemeClr val="accent1"/>
                </a:solidFill>
              </a:rPr>
              <a:t>Strategies</a:t>
            </a:r>
          </a:p>
        </p:txBody>
      </p:sp>
      <p:sp>
        <p:nvSpPr>
          <p:cNvPr id="45" name="Rectangle 35">
            <a:extLst>
              <a:ext uri="{FF2B5EF4-FFF2-40B4-BE49-F238E27FC236}">
                <a16:creationId xmlns:a16="http://schemas.microsoft.com/office/drawing/2014/main" id="{76E351B0-0758-9D45-9783-37550F530EB7}"/>
              </a:ext>
            </a:extLst>
          </p:cNvPr>
          <p:cNvSpPr/>
          <p:nvPr/>
        </p:nvSpPr>
        <p:spPr>
          <a:xfrm rot="10800000" flipV="1">
            <a:off x="3391717" y="4073544"/>
            <a:ext cx="8647884" cy="1094761"/>
          </a:xfrm>
          <a:prstGeom prst="rect">
            <a:avLst/>
          </a:prstGeom>
          <a:solidFill>
            <a:schemeClr val="bg1"/>
          </a:solidFill>
          <a:ln w="19050">
            <a:noFill/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21" tIns="93611" rIns="180021" bIns="93611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spc="40" dirty="0">
                <a:solidFill>
                  <a:schemeClr val="accent1"/>
                </a:solidFill>
              </a:rPr>
              <a:t>EMA Strategy for open long and short and close short and lo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400" spc="40" dirty="0">
                <a:solidFill>
                  <a:schemeClr val="accent1"/>
                </a:solidFill>
              </a:rPr>
              <a:t>e.g. for open long: Slope for EMA 150 &gt;= 30 &amp; &lt;= 90 &amp; …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spc="40" dirty="0">
                <a:solidFill>
                  <a:schemeClr val="accent1"/>
                </a:solidFill>
              </a:rPr>
              <a:t>Time Series strateg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400" spc="40" dirty="0">
                <a:solidFill>
                  <a:schemeClr val="accent1"/>
                </a:solidFill>
              </a:rPr>
              <a:t>e.g. current price &lt;= Low 8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spc="40" dirty="0">
                <a:solidFill>
                  <a:schemeClr val="accent1"/>
                </a:solidFill>
              </a:rPr>
              <a:t>Stochastic strategy for open long and short and close long and short</a:t>
            </a:r>
          </a:p>
        </p:txBody>
      </p:sp>
    </p:spTree>
    <p:extLst>
      <p:ext uri="{BB962C8B-B14F-4D97-AF65-F5344CB8AC3E}">
        <p14:creationId xmlns:p14="http://schemas.microsoft.com/office/powerpoint/2010/main" val="13198300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17D7F0-E07A-F243-A299-D73A2494E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algorithm are checking the strategies and buys automatically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21A48B0-2217-CD4E-BF26-D19F9127A24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C9A7F87-E7B5-A64E-960C-AA60BD6645B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796301" y="52029"/>
            <a:ext cx="3395700" cy="3590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n>
                <a:noFill/>
              </a:ln>
              <a:solidFill>
                <a:srgbClr val="4B5564"/>
              </a:solidFill>
              <a:latin typeface="TKTypeMedium" panose="020B0606030201060204" pitchFamily="34" charset="0"/>
            </a:endParaRPr>
          </a:p>
        </p:txBody>
      </p:sp>
      <p:sp>
        <p:nvSpPr>
          <p:cNvPr id="6" name="Rechteck 5">
            <a:hlinkClick r:id="rId5" action="ppaction://hlinksldjump"/>
            <a:extLst>
              <a:ext uri="{FF2B5EF4-FFF2-40B4-BE49-F238E27FC236}">
                <a16:creationId xmlns:a16="http://schemas.microsoft.com/office/drawing/2014/main" id="{B5564577-3AE5-B448-981D-375ABACA8DA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640300" y="34813"/>
            <a:ext cx="2522358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TKTypeMedium" panose="020B0606030201060204" pitchFamily="34" charset="0"/>
              </a:rPr>
              <a:t>Algorithms</a:t>
            </a:r>
            <a:endParaRPr lang="en-US" sz="1600" dirty="0">
              <a:ln>
                <a:noFill/>
              </a:ln>
              <a:solidFill>
                <a:srgbClr val="FFFFFF"/>
              </a:solidFill>
              <a:latin typeface="TKTypeMedium" panose="020B0606030201060204" pitchFamily="34" charset="0"/>
            </a:endParaRPr>
          </a:p>
        </p:txBody>
      </p:sp>
      <p:sp>
        <p:nvSpPr>
          <p:cNvPr id="7" name="Rechteck 6">
            <a:hlinkClick r:id="rId5" action="ppaction://hlinksldjump"/>
            <a:extLst>
              <a:ext uri="{FF2B5EF4-FFF2-40B4-BE49-F238E27FC236}">
                <a16:creationId xmlns:a16="http://schemas.microsoft.com/office/drawing/2014/main" id="{47AE084B-D554-3F4E-9C3B-0DD3C3E012B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132300" y="34813"/>
            <a:ext cx="508000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5880" rIns="0" bIns="55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solidFill>
                  <a:srgbClr val="FFFFFF"/>
                </a:solidFill>
                <a:latin typeface="TKTypeMedium" panose="020B0606030201060204" pitchFamily="34" charset="0"/>
              </a:rPr>
              <a:t>3</a:t>
            </a:r>
            <a:endParaRPr lang="de-DE" sz="1600" dirty="0">
              <a:ln>
                <a:noFill/>
              </a:ln>
              <a:solidFill>
                <a:srgbClr val="FFFFFF"/>
              </a:solidFill>
              <a:latin typeface="TKTypeMedium" panose="020B0606030201060204" pitchFamily="34" charset="0"/>
            </a:endParaRPr>
          </a:p>
        </p:txBody>
      </p:sp>
      <p:sp>
        <p:nvSpPr>
          <p:cNvPr id="39" name="Rectangle 35">
            <a:extLst>
              <a:ext uri="{FF2B5EF4-FFF2-40B4-BE49-F238E27FC236}">
                <a16:creationId xmlns:a16="http://schemas.microsoft.com/office/drawing/2014/main" id="{B99C3287-7489-2747-A9C6-686CDF410A69}"/>
              </a:ext>
            </a:extLst>
          </p:cNvPr>
          <p:cNvSpPr/>
          <p:nvPr/>
        </p:nvSpPr>
        <p:spPr>
          <a:xfrm rot="10800000" flipV="1">
            <a:off x="335997" y="811161"/>
            <a:ext cx="9307629" cy="868014"/>
          </a:xfrm>
          <a:prstGeom prst="roundRect">
            <a:avLst/>
          </a:prstGeom>
          <a:solidFill>
            <a:schemeClr val="accent1"/>
          </a:solidFill>
          <a:ln w="19050">
            <a:noFill/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21" tIns="93611" rIns="180021" bIns="93611" rtlCol="0" anchor="ctr"/>
          <a:lstStyle/>
          <a:p>
            <a:pPr algn="ctr"/>
            <a:r>
              <a:rPr lang="en-GB" sz="2800" spc="40" dirty="0">
                <a:solidFill>
                  <a:schemeClr val="bg1"/>
                </a:solidFill>
              </a:rPr>
              <a:t>While Time is between 10 am and 2 pm &amp;</a:t>
            </a:r>
          </a:p>
          <a:p>
            <a:pPr algn="ctr"/>
            <a:r>
              <a:rPr lang="en-GB" sz="2800" spc="40" dirty="0">
                <a:solidFill>
                  <a:schemeClr val="bg1"/>
                </a:solidFill>
              </a:rPr>
              <a:t>transaction &lt;= TRANSACTION </a:t>
            </a:r>
          </a:p>
        </p:txBody>
      </p:sp>
      <p:sp>
        <p:nvSpPr>
          <p:cNvPr id="41" name="Rectangle 35">
            <a:extLst>
              <a:ext uri="{FF2B5EF4-FFF2-40B4-BE49-F238E27FC236}">
                <a16:creationId xmlns:a16="http://schemas.microsoft.com/office/drawing/2014/main" id="{D494913A-0C52-9140-AC62-97FA89A27E42}"/>
              </a:ext>
            </a:extLst>
          </p:cNvPr>
          <p:cNvSpPr/>
          <p:nvPr/>
        </p:nvSpPr>
        <p:spPr>
          <a:xfrm rot="10800000" flipV="1">
            <a:off x="623392" y="1764803"/>
            <a:ext cx="9541060" cy="86801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21" tIns="93611" rIns="180021" bIns="93611" rtlCol="0" anchor="ctr"/>
          <a:lstStyle/>
          <a:p>
            <a:r>
              <a:rPr lang="en-GB" spc="40" dirty="0">
                <a:solidFill>
                  <a:schemeClr val="accent1"/>
                </a:solidFill>
              </a:rPr>
              <a:t>SIGNAL GENERATOR: Send signals to Database for possible </a:t>
            </a:r>
          </a:p>
          <a:p>
            <a:r>
              <a:rPr lang="en-GB" spc="40" dirty="0">
                <a:solidFill>
                  <a:schemeClr val="accent1"/>
                </a:solidFill>
              </a:rPr>
              <a:t>buy options</a:t>
            </a:r>
          </a:p>
        </p:txBody>
      </p:sp>
      <p:sp>
        <p:nvSpPr>
          <p:cNvPr id="16" name="Rectangle 35">
            <a:extLst>
              <a:ext uri="{FF2B5EF4-FFF2-40B4-BE49-F238E27FC236}">
                <a16:creationId xmlns:a16="http://schemas.microsoft.com/office/drawing/2014/main" id="{76B40DD3-E4FF-5043-A79A-0816C76E4960}"/>
              </a:ext>
            </a:extLst>
          </p:cNvPr>
          <p:cNvSpPr/>
          <p:nvPr/>
        </p:nvSpPr>
        <p:spPr>
          <a:xfrm rot="10800000" flipV="1">
            <a:off x="1019436" y="2718445"/>
            <a:ext cx="9541060" cy="56653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21" tIns="93611" rIns="180021" bIns="93611" rtlCol="0" anchor="ctr"/>
          <a:lstStyle/>
          <a:p>
            <a:r>
              <a:rPr lang="en-GB" spc="40" dirty="0">
                <a:solidFill>
                  <a:schemeClr val="accent1"/>
                </a:solidFill>
              </a:rPr>
              <a:t>Check for strategies (EMA, </a:t>
            </a:r>
            <a:r>
              <a:rPr lang="en-GB" spc="40" dirty="0" err="1">
                <a:solidFill>
                  <a:schemeClr val="accent1"/>
                </a:solidFill>
              </a:rPr>
              <a:t>ts</a:t>
            </a:r>
            <a:r>
              <a:rPr lang="en-GB" spc="40" dirty="0">
                <a:solidFill>
                  <a:schemeClr val="accent1"/>
                </a:solidFill>
              </a:rPr>
              <a:t>, stochastic) and if they are true store in database</a:t>
            </a:r>
          </a:p>
        </p:txBody>
      </p:sp>
      <p:sp>
        <p:nvSpPr>
          <p:cNvPr id="17" name="Rectangle 35">
            <a:extLst>
              <a:ext uri="{FF2B5EF4-FFF2-40B4-BE49-F238E27FC236}">
                <a16:creationId xmlns:a16="http://schemas.microsoft.com/office/drawing/2014/main" id="{43DDA1F2-0C46-0746-818E-E35E33941C49}"/>
              </a:ext>
            </a:extLst>
          </p:cNvPr>
          <p:cNvSpPr/>
          <p:nvPr/>
        </p:nvSpPr>
        <p:spPr>
          <a:xfrm rot="10800000" flipV="1">
            <a:off x="1352659" y="3354648"/>
            <a:ext cx="9541060" cy="56653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21" tIns="93611" rIns="180021" bIns="93611" rtlCol="0" anchor="ctr"/>
          <a:lstStyle/>
          <a:p>
            <a:r>
              <a:rPr lang="en-GB" spc="40" dirty="0">
                <a:solidFill>
                  <a:schemeClr val="accent1"/>
                </a:solidFill>
              </a:rPr>
              <a:t>Get the buy options from the database and Buy an open position (for an exact minute)  </a:t>
            </a:r>
          </a:p>
        </p:txBody>
      </p:sp>
      <p:sp>
        <p:nvSpPr>
          <p:cNvPr id="18" name="Freeform 55">
            <a:extLst>
              <a:ext uri="{FF2B5EF4-FFF2-40B4-BE49-F238E27FC236}">
                <a16:creationId xmlns:a16="http://schemas.microsoft.com/office/drawing/2014/main" id="{AB51DEB4-9C4E-9C40-8306-CE24EF443E4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707199" y="1872320"/>
            <a:ext cx="457253" cy="559659"/>
          </a:xfrm>
          <a:custGeom>
            <a:avLst/>
            <a:gdLst>
              <a:gd name="T0" fmla="*/ 144 w 144"/>
              <a:gd name="T1" fmla="*/ 24 h 176"/>
              <a:gd name="T2" fmla="*/ 72 w 144"/>
              <a:gd name="T3" fmla="*/ 0 h 176"/>
              <a:gd name="T4" fmla="*/ 0 w 144"/>
              <a:gd name="T5" fmla="*/ 24 h 176"/>
              <a:gd name="T6" fmla="*/ 0 w 144"/>
              <a:gd name="T7" fmla="*/ 56 h 176"/>
              <a:gd name="T8" fmla="*/ 4 w 144"/>
              <a:gd name="T9" fmla="*/ 64 h 176"/>
              <a:gd name="T10" fmla="*/ 0 w 144"/>
              <a:gd name="T11" fmla="*/ 72 h 176"/>
              <a:gd name="T12" fmla="*/ 0 w 144"/>
              <a:gd name="T13" fmla="*/ 104 h 176"/>
              <a:gd name="T14" fmla="*/ 4 w 144"/>
              <a:gd name="T15" fmla="*/ 112 h 176"/>
              <a:gd name="T16" fmla="*/ 0 w 144"/>
              <a:gd name="T17" fmla="*/ 120 h 176"/>
              <a:gd name="T18" fmla="*/ 0 w 144"/>
              <a:gd name="T19" fmla="*/ 152 h 176"/>
              <a:gd name="T20" fmla="*/ 72 w 144"/>
              <a:gd name="T21" fmla="*/ 176 h 176"/>
              <a:gd name="T22" fmla="*/ 144 w 144"/>
              <a:gd name="T23" fmla="*/ 152 h 176"/>
              <a:gd name="T24" fmla="*/ 144 w 144"/>
              <a:gd name="T25" fmla="*/ 120 h 176"/>
              <a:gd name="T26" fmla="*/ 140 w 144"/>
              <a:gd name="T27" fmla="*/ 112 h 176"/>
              <a:gd name="T28" fmla="*/ 144 w 144"/>
              <a:gd name="T29" fmla="*/ 104 h 176"/>
              <a:gd name="T30" fmla="*/ 144 w 144"/>
              <a:gd name="T31" fmla="*/ 72 h 176"/>
              <a:gd name="T32" fmla="*/ 140 w 144"/>
              <a:gd name="T33" fmla="*/ 64 h 176"/>
              <a:gd name="T34" fmla="*/ 144 w 144"/>
              <a:gd name="T35" fmla="*/ 56 h 176"/>
              <a:gd name="T36" fmla="*/ 144 w 144"/>
              <a:gd name="T37" fmla="*/ 24 h 176"/>
              <a:gd name="T38" fmla="*/ 136 w 144"/>
              <a:gd name="T39" fmla="*/ 152 h 176"/>
              <a:gd name="T40" fmla="*/ 72 w 144"/>
              <a:gd name="T41" fmla="*/ 168 h 176"/>
              <a:gd name="T42" fmla="*/ 8 w 144"/>
              <a:gd name="T43" fmla="*/ 152 h 176"/>
              <a:gd name="T44" fmla="*/ 8 w 144"/>
              <a:gd name="T45" fmla="*/ 131 h 176"/>
              <a:gd name="T46" fmla="*/ 72 w 144"/>
              <a:gd name="T47" fmla="*/ 144 h 176"/>
              <a:gd name="T48" fmla="*/ 136 w 144"/>
              <a:gd name="T49" fmla="*/ 131 h 176"/>
              <a:gd name="T50" fmla="*/ 136 w 144"/>
              <a:gd name="T51" fmla="*/ 152 h 176"/>
              <a:gd name="T52" fmla="*/ 72 w 144"/>
              <a:gd name="T53" fmla="*/ 136 h 176"/>
              <a:gd name="T54" fmla="*/ 8 w 144"/>
              <a:gd name="T55" fmla="*/ 120 h 176"/>
              <a:gd name="T56" fmla="*/ 10 w 144"/>
              <a:gd name="T57" fmla="*/ 116 h 176"/>
              <a:gd name="T58" fmla="*/ 72 w 144"/>
              <a:gd name="T59" fmla="*/ 128 h 176"/>
              <a:gd name="T60" fmla="*/ 134 w 144"/>
              <a:gd name="T61" fmla="*/ 116 h 176"/>
              <a:gd name="T62" fmla="*/ 136 w 144"/>
              <a:gd name="T63" fmla="*/ 120 h 176"/>
              <a:gd name="T64" fmla="*/ 72 w 144"/>
              <a:gd name="T65" fmla="*/ 136 h 176"/>
              <a:gd name="T66" fmla="*/ 136 w 144"/>
              <a:gd name="T67" fmla="*/ 104 h 176"/>
              <a:gd name="T68" fmla="*/ 72 w 144"/>
              <a:gd name="T69" fmla="*/ 120 h 176"/>
              <a:gd name="T70" fmla="*/ 8 w 144"/>
              <a:gd name="T71" fmla="*/ 104 h 176"/>
              <a:gd name="T72" fmla="*/ 8 w 144"/>
              <a:gd name="T73" fmla="*/ 83 h 176"/>
              <a:gd name="T74" fmla="*/ 72 w 144"/>
              <a:gd name="T75" fmla="*/ 96 h 176"/>
              <a:gd name="T76" fmla="*/ 136 w 144"/>
              <a:gd name="T77" fmla="*/ 83 h 176"/>
              <a:gd name="T78" fmla="*/ 136 w 144"/>
              <a:gd name="T79" fmla="*/ 104 h 176"/>
              <a:gd name="T80" fmla="*/ 72 w 144"/>
              <a:gd name="T81" fmla="*/ 88 h 176"/>
              <a:gd name="T82" fmla="*/ 8 w 144"/>
              <a:gd name="T83" fmla="*/ 72 h 176"/>
              <a:gd name="T84" fmla="*/ 10 w 144"/>
              <a:gd name="T85" fmla="*/ 68 h 176"/>
              <a:gd name="T86" fmla="*/ 72 w 144"/>
              <a:gd name="T87" fmla="*/ 80 h 176"/>
              <a:gd name="T88" fmla="*/ 134 w 144"/>
              <a:gd name="T89" fmla="*/ 68 h 176"/>
              <a:gd name="T90" fmla="*/ 136 w 144"/>
              <a:gd name="T91" fmla="*/ 72 h 176"/>
              <a:gd name="T92" fmla="*/ 72 w 144"/>
              <a:gd name="T93" fmla="*/ 88 h 176"/>
              <a:gd name="T94" fmla="*/ 136 w 144"/>
              <a:gd name="T95" fmla="*/ 56 h 176"/>
              <a:gd name="T96" fmla="*/ 72 w 144"/>
              <a:gd name="T97" fmla="*/ 72 h 176"/>
              <a:gd name="T98" fmla="*/ 8 w 144"/>
              <a:gd name="T99" fmla="*/ 56 h 176"/>
              <a:gd name="T100" fmla="*/ 8 w 144"/>
              <a:gd name="T101" fmla="*/ 35 h 176"/>
              <a:gd name="T102" fmla="*/ 72 w 144"/>
              <a:gd name="T103" fmla="*/ 48 h 176"/>
              <a:gd name="T104" fmla="*/ 136 w 144"/>
              <a:gd name="T105" fmla="*/ 35 h 176"/>
              <a:gd name="T106" fmla="*/ 136 w 144"/>
              <a:gd name="T107" fmla="*/ 56 h 176"/>
              <a:gd name="T108" fmla="*/ 72 w 144"/>
              <a:gd name="T109" fmla="*/ 40 h 176"/>
              <a:gd name="T110" fmla="*/ 8 w 144"/>
              <a:gd name="T111" fmla="*/ 24 h 176"/>
              <a:gd name="T112" fmla="*/ 72 w 144"/>
              <a:gd name="T113" fmla="*/ 8 h 176"/>
              <a:gd name="T114" fmla="*/ 136 w 144"/>
              <a:gd name="T115" fmla="*/ 24 h 176"/>
              <a:gd name="T116" fmla="*/ 72 w 144"/>
              <a:gd name="T117" fmla="*/ 40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44" h="176">
                <a:moveTo>
                  <a:pt x="144" y="24"/>
                </a:moveTo>
                <a:cubicBezTo>
                  <a:pt x="144" y="11"/>
                  <a:pt x="112" y="0"/>
                  <a:pt x="72" y="0"/>
                </a:cubicBezTo>
                <a:cubicBezTo>
                  <a:pt x="32" y="0"/>
                  <a:pt x="0" y="11"/>
                  <a:pt x="0" y="24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59"/>
                  <a:pt x="2" y="61"/>
                  <a:pt x="4" y="64"/>
                </a:cubicBezTo>
                <a:cubicBezTo>
                  <a:pt x="2" y="67"/>
                  <a:pt x="0" y="69"/>
                  <a:pt x="0" y="72"/>
                </a:cubicBezTo>
                <a:cubicBezTo>
                  <a:pt x="0" y="104"/>
                  <a:pt x="0" y="104"/>
                  <a:pt x="0" y="104"/>
                </a:cubicBezTo>
                <a:cubicBezTo>
                  <a:pt x="0" y="107"/>
                  <a:pt x="2" y="109"/>
                  <a:pt x="4" y="112"/>
                </a:cubicBezTo>
                <a:cubicBezTo>
                  <a:pt x="2" y="115"/>
                  <a:pt x="0" y="117"/>
                  <a:pt x="0" y="120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165"/>
                  <a:pt x="32" y="176"/>
                  <a:pt x="72" y="176"/>
                </a:cubicBezTo>
                <a:cubicBezTo>
                  <a:pt x="112" y="176"/>
                  <a:pt x="144" y="165"/>
                  <a:pt x="144" y="152"/>
                </a:cubicBezTo>
                <a:cubicBezTo>
                  <a:pt x="144" y="120"/>
                  <a:pt x="144" y="120"/>
                  <a:pt x="144" y="120"/>
                </a:cubicBezTo>
                <a:cubicBezTo>
                  <a:pt x="144" y="117"/>
                  <a:pt x="142" y="115"/>
                  <a:pt x="140" y="112"/>
                </a:cubicBezTo>
                <a:cubicBezTo>
                  <a:pt x="142" y="109"/>
                  <a:pt x="144" y="107"/>
                  <a:pt x="144" y="104"/>
                </a:cubicBezTo>
                <a:cubicBezTo>
                  <a:pt x="144" y="72"/>
                  <a:pt x="144" y="72"/>
                  <a:pt x="144" y="72"/>
                </a:cubicBezTo>
                <a:cubicBezTo>
                  <a:pt x="144" y="69"/>
                  <a:pt x="142" y="67"/>
                  <a:pt x="140" y="64"/>
                </a:cubicBezTo>
                <a:cubicBezTo>
                  <a:pt x="142" y="61"/>
                  <a:pt x="144" y="59"/>
                  <a:pt x="144" y="56"/>
                </a:cubicBezTo>
                <a:lnTo>
                  <a:pt x="144" y="24"/>
                </a:lnTo>
                <a:close/>
                <a:moveTo>
                  <a:pt x="136" y="152"/>
                </a:moveTo>
                <a:cubicBezTo>
                  <a:pt x="136" y="161"/>
                  <a:pt x="107" y="168"/>
                  <a:pt x="72" y="168"/>
                </a:cubicBezTo>
                <a:cubicBezTo>
                  <a:pt x="37" y="168"/>
                  <a:pt x="8" y="161"/>
                  <a:pt x="8" y="152"/>
                </a:cubicBezTo>
                <a:cubicBezTo>
                  <a:pt x="8" y="131"/>
                  <a:pt x="8" y="131"/>
                  <a:pt x="8" y="131"/>
                </a:cubicBezTo>
                <a:cubicBezTo>
                  <a:pt x="20" y="139"/>
                  <a:pt x="44" y="144"/>
                  <a:pt x="72" y="144"/>
                </a:cubicBezTo>
                <a:cubicBezTo>
                  <a:pt x="100" y="144"/>
                  <a:pt x="124" y="139"/>
                  <a:pt x="136" y="131"/>
                </a:cubicBezTo>
                <a:lnTo>
                  <a:pt x="136" y="152"/>
                </a:lnTo>
                <a:close/>
                <a:moveTo>
                  <a:pt x="72" y="136"/>
                </a:moveTo>
                <a:cubicBezTo>
                  <a:pt x="37" y="136"/>
                  <a:pt x="8" y="129"/>
                  <a:pt x="8" y="120"/>
                </a:cubicBezTo>
                <a:cubicBezTo>
                  <a:pt x="8" y="119"/>
                  <a:pt x="9" y="117"/>
                  <a:pt x="10" y="116"/>
                </a:cubicBezTo>
                <a:cubicBezTo>
                  <a:pt x="22" y="123"/>
                  <a:pt x="46" y="128"/>
                  <a:pt x="72" y="128"/>
                </a:cubicBezTo>
                <a:cubicBezTo>
                  <a:pt x="98" y="128"/>
                  <a:pt x="122" y="123"/>
                  <a:pt x="134" y="116"/>
                </a:cubicBezTo>
                <a:cubicBezTo>
                  <a:pt x="135" y="117"/>
                  <a:pt x="136" y="119"/>
                  <a:pt x="136" y="120"/>
                </a:cubicBezTo>
                <a:cubicBezTo>
                  <a:pt x="136" y="129"/>
                  <a:pt x="107" y="136"/>
                  <a:pt x="72" y="136"/>
                </a:cubicBezTo>
                <a:moveTo>
                  <a:pt x="136" y="104"/>
                </a:moveTo>
                <a:cubicBezTo>
                  <a:pt x="136" y="113"/>
                  <a:pt x="107" y="120"/>
                  <a:pt x="72" y="120"/>
                </a:cubicBezTo>
                <a:cubicBezTo>
                  <a:pt x="37" y="120"/>
                  <a:pt x="8" y="113"/>
                  <a:pt x="8" y="104"/>
                </a:cubicBezTo>
                <a:cubicBezTo>
                  <a:pt x="8" y="83"/>
                  <a:pt x="8" y="83"/>
                  <a:pt x="8" y="83"/>
                </a:cubicBezTo>
                <a:cubicBezTo>
                  <a:pt x="20" y="91"/>
                  <a:pt x="44" y="96"/>
                  <a:pt x="72" y="96"/>
                </a:cubicBezTo>
                <a:cubicBezTo>
                  <a:pt x="100" y="96"/>
                  <a:pt x="124" y="91"/>
                  <a:pt x="136" y="83"/>
                </a:cubicBezTo>
                <a:lnTo>
                  <a:pt x="136" y="104"/>
                </a:lnTo>
                <a:close/>
                <a:moveTo>
                  <a:pt x="72" y="88"/>
                </a:moveTo>
                <a:cubicBezTo>
                  <a:pt x="37" y="88"/>
                  <a:pt x="8" y="81"/>
                  <a:pt x="8" y="72"/>
                </a:cubicBezTo>
                <a:cubicBezTo>
                  <a:pt x="8" y="71"/>
                  <a:pt x="9" y="69"/>
                  <a:pt x="10" y="68"/>
                </a:cubicBezTo>
                <a:cubicBezTo>
                  <a:pt x="22" y="75"/>
                  <a:pt x="46" y="80"/>
                  <a:pt x="72" y="80"/>
                </a:cubicBezTo>
                <a:cubicBezTo>
                  <a:pt x="98" y="80"/>
                  <a:pt x="122" y="75"/>
                  <a:pt x="134" y="68"/>
                </a:cubicBezTo>
                <a:cubicBezTo>
                  <a:pt x="135" y="69"/>
                  <a:pt x="136" y="71"/>
                  <a:pt x="136" y="72"/>
                </a:cubicBezTo>
                <a:cubicBezTo>
                  <a:pt x="136" y="81"/>
                  <a:pt x="107" y="88"/>
                  <a:pt x="72" y="88"/>
                </a:cubicBezTo>
                <a:moveTo>
                  <a:pt x="136" y="56"/>
                </a:moveTo>
                <a:cubicBezTo>
                  <a:pt x="136" y="65"/>
                  <a:pt x="107" y="72"/>
                  <a:pt x="72" y="72"/>
                </a:cubicBezTo>
                <a:cubicBezTo>
                  <a:pt x="37" y="72"/>
                  <a:pt x="8" y="65"/>
                  <a:pt x="8" y="56"/>
                </a:cubicBezTo>
                <a:cubicBezTo>
                  <a:pt x="8" y="35"/>
                  <a:pt x="8" y="35"/>
                  <a:pt x="8" y="35"/>
                </a:cubicBezTo>
                <a:cubicBezTo>
                  <a:pt x="20" y="43"/>
                  <a:pt x="44" y="48"/>
                  <a:pt x="72" y="48"/>
                </a:cubicBezTo>
                <a:cubicBezTo>
                  <a:pt x="100" y="48"/>
                  <a:pt x="124" y="43"/>
                  <a:pt x="136" y="35"/>
                </a:cubicBezTo>
                <a:lnTo>
                  <a:pt x="136" y="56"/>
                </a:lnTo>
                <a:close/>
                <a:moveTo>
                  <a:pt x="72" y="40"/>
                </a:moveTo>
                <a:cubicBezTo>
                  <a:pt x="37" y="40"/>
                  <a:pt x="8" y="33"/>
                  <a:pt x="8" y="24"/>
                </a:cubicBezTo>
                <a:cubicBezTo>
                  <a:pt x="8" y="15"/>
                  <a:pt x="37" y="8"/>
                  <a:pt x="72" y="8"/>
                </a:cubicBezTo>
                <a:cubicBezTo>
                  <a:pt x="107" y="8"/>
                  <a:pt x="136" y="15"/>
                  <a:pt x="136" y="24"/>
                </a:cubicBezTo>
                <a:cubicBezTo>
                  <a:pt x="136" y="33"/>
                  <a:pt x="107" y="40"/>
                  <a:pt x="72" y="40"/>
                </a:cubicBezTo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37176" tIns="68588" rIns="137176" bIns="68588" numCol="1" anchor="t" anchorCtr="0" compatLnSpc="1">
            <a:prstTxWarp prst="textNoShape">
              <a:avLst/>
            </a:prstTxWarp>
          </a:bodyPr>
          <a:lstStyle/>
          <a:p>
            <a:endParaRPr lang="en-GB" sz="2700" spc="40"/>
          </a:p>
        </p:txBody>
      </p:sp>
      <p:sp>
        <p:nvSpPr>
          <p:cNvPr id="19" name="Freeform 55">
            <a:extLst>
              <a:ext uri="{FF2B5EF4-FFF2-40B4-BE49-F238E27FC236}">
                <a16:creationId xmlns:a16="http://schemas.microsoft.com/office/drawing/2014/main" id="{EF7C74AA-28C6-2843-A326-B658D9EA05B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036898" y="2718444"/>
            <a:ext cx="457253" cy="559659"/>
          </a:xfrm>
          <a:custGeom>
            <a:avLst/>
            <a:gdLst>
              <a:gd name="T0" fmla="*/ 144 w 144"/>
              <a:gd name="T1" fmla="*/ 24 h 176"/>
              <a:gd name="T2" fmla="*/ 72 w 144"/>
              <a:gd name="T3" fmla="*/ 0 h 176"/>
              <a:gd name="T4" fmla="*/ 0 w 144"/>
              <a:gd name="T5" fmla="*/ 24 h 176"/>
              <a:gd name="T6" fmla="*/ 0 w 144"/>
              <a:gd name="T7" fmla="*/ 56 h 176"/>
              <a:gd name="T8" fmla="*/ 4 w 144"/>
              <a:gd name="T9" fmla="*/ 64 h 176"/>
              <a:gd name="T10" fmla="*/ 0 w 144"/>
              <a:gd name="T11" fmla="*/ 72 h 176"/>
              <a:gd name="T12" fmla="*/ 0 w 144"/>
              <a:gd name="T13" fmla="*/ 104 h 176"/>
              <a:gd name="T14" fmla="*/ 4 w 144"/>
              <a:gd name="T15" fmla="*/ 112 h 176"/>
              <a:gd name="T16" fmla="*/ 0 w 144"/>
              <a:gd name="T17" fmla="*/ 120 h 176"/>
              <a:gd name="T18" fmla="*/ 0 w 144"/>
              <a:gd name="T19" fmla="*/ 152 h 176"/>
              <a:gd name="T20" fmla="*/ 72 w 144"/>
              <a:gd name="T21" fmla="*/ 176 h 176"/>
              <a:gd name="T22" fmla="*/ 144 w 144"/>
              <a:gd name="T23" fmla="*/ 152 h 176"/>
              <a:gd name="T24" fmla="*/ 144 w 144"/>
              <a:gd name="T25" fmla="*/ 120 h 176"/>
              <a:gd name="T26" fmla="*/ 140 w 144"/>
              <a:gd name="T27" fmla="*/ 112 h 176"/>
              <a:gd name="T28" fmla="*/ 144 w 144"/>
              <a:gd name="T29" fmla="*/ 104 h 176"/>
              <a:gd name="T30" fmla="*/ 144 w 144"/>
              <a:gd name="T31" fmla="*/ 72 h 176"/>
              <a:gd name="T32" fmla="*/ 140 w 144"/>
              <a:gd name="T33" fmla="*/ 64 h 176"/>
              <a:gd name="T34" fmla="*/ 144 w 144"/>
              <a:gd name="T35" fmla="*/ 56 h 176"/>
              <a:gd name="T36" fmla="*/ 144 w 144"/>
              <a:gd name="T37" fmla="*/ 24 h 176"/>
              <a:gd name="T38" fmla="*/ 136 w 144"/>
              <a:gd name="T39" fmla="*/ 152 h 176"/>
              <a:gd name="T40" fmla="*/ 72 w 144"/>
              <a:gd name="T41" fmla="*/ 168 h 176"/>
              <a:gd name="T42" fmla="*/ 8 w 144"/>
              <a:gd name="T43" fmla="*/ 152 h 176"/>
              <a:gd name="T44" fmla="*/ 8 w 144"/>
              <a:gd name="T45" fmla="*/ 131 h 176"/>
              <a:gd name="T46" fmla="*/ 72 w 144"/>
              <a:gd name="T47" fmla="*/ 144 h 176"/>
              <a:gd name="T48" fmla="*/ 136 w 144"/>
              <a:gd name="T49" fmla="*/ 131 h 176"/>
              <a:gd name="T50" fmla="*/ 136 w 144"/>
              <a:gd name="T51" fmla="*/ 152 h 176"/>
              <a:gd name="T52" fmla="*/ 72 w 144"/>
              <a:gd name="T53" fmla="*/ 136 h 176"/>
              <a:gd name="T54" fmla="*/ 8 w 144"/>
              <a:gd name="T55" fmla="*/ 120 h 176"/>
              <a:gd name="T56" fmla="*/ 10 w 144"/>
              <a:gd name="T57" fmla="*/ 116 h 176"/>
              <a:gd name="T58" fmla="*/ 72 w 144"/>
              <a:gd name="T59" fmla="*/ 128 h 176"/>
              <a:gd name="T60" fmla="*/ 134 w 144"/>
              <a:gd name="T61" fmla="*/ 116 h 176"/>
              <a:gd name="T62" fmla="*/ 136 w 144"/>
              <a:gd name="T63" fmla="*/ 120 h 176"/>
              <a:gd name="T64" fmla="*/ 72 w 144"/>
              <a:gd name="T65" fmla="*/ 136 h 176"/>
              <a:gd name="T66" fmla="*/ 136 w 144"/>
              <a:gd name="T67" fmla="*/ 104 h 176"/>
              <a:gd name="T68" fmla="*/ 72 w 144"/>
              <a:gd name="T69" fmla="*/ 120 h 176"/>
              <a:gd name="T70" fmla="*/ 8 w 144"/>
              <a:gd name="T71" fmla="*/ 104 h 176"/>
              <a:gd name="T72" fmla="*/ 8 w 144"/>
              <a:gd name="T73" fmla="*/ 83 h 176"/>
              <a:gd name="T74" fmla="*/ 72 w 144"/>
              <a:gd name="T75" fmla="*/ 96 h 176"/>
              <a:gd name="T76" fmla="*/ 136 w 144"/>
              <a:gd name="T77" fmla="*/ 83 h 176"/>
              <a:gd name="T78" fmla="*/ 136 w 144"/>
              <a:gd name="T79" fmla="*/ 104 h 176"/>
              <a:gd name="T80" fmla="*/ 72 w 144"/>
              <a:gd name="T81" fmla="*/ 88 h 176"/>
              <a:gd name="T82" fmla="*/ 8 w 144"/>
              <a:gd name="T83" fmla="*/ 72 h 176"/>
              <a:gd name="T84" fmla="*/ 10 w 144"/>
              <a:gd name="T85" fmla="*/ 68 h 176"/>
              <a:gd name="T86" fmla="*/ 72 w 144"/>
              <a:gd name="T87" fmla="*/ 80 h 176"/>
              <a:gd name="T88" fmla="*/ 134 w 144"/>
              <a:gd name="T89" fmla="*/ 68 h 176"/>
              <a:gd name="T90" fmla="*/ 136 w 144"/>
              <a:gd name="T91" fmla="*/ 72 h 176"/>
              <a:gd name="T92" fmla="*/ 72 w 144"/>
              <a:gd name="T93" fmla="*/ 88 h 176"/>
              <a:gd name="T94" fmla="*/ 136 w 144"/>
              <a:gd name="T95" fmla="*/ 56 h 176"/>
              <a:gd name="T96" fmla="*/ 72 w 144"/>
              <a:gd name="T97" fmla="*/ 72 h 176"/>
              <a:gd name="T98" fmla="*/ 8 w 144"/>
              <a:gd name="T99" fmla="*/ 56 h 176"/>
              <a:gd name="T100" fmla="*/ 8 w 144"/>
              <a:gd name="T101" fmla="*/ 35 h 176"/>
              <a:gd name="T102" fmla="*/ 72 w 144"/>
              <a:gd name="T103" fmla="*/ 48 h 176"/>
              <a:gd name="T104" fmla="*/ 136 w 144"/>
              <a:gd name="T105" fmla="*/ 35 h 176"/>
              <a:gd name="T106" fmla="*/ 136 w 144"/>
              <a:gd name="T107" fmla="*/ 56 h 176"/>
              <a:gd name="T108" fmla="*/ 72 w 144"/>
              <a:gd name="T109" fmla="*/ 40 h 176"/>
              <a:gd name="T110" fmla="*/ 8 w 144"/>
              <a:gd name="T111" fmla="*/ 24 h 176"/>
              <a:gd name="T112" fmla="*/ 72 w 144"/>
              <a:gd name="T113" fmla="*/ 8 h 176"/>
              <a:gd name="T114" fmla="*/ 136 w 144"/>
              <a:gd name="T115" fmla="*/ 24 h 176"/>
              <a:gd name="T116" fmla="*/ 72 w 144"/>
              <a:gd name="T117" fmla="*/ 40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44" h="176">
                <a:moveTo>
                  <a:pt x="144" y="24"/>
                </a:moveTo>
                <a:cubicBezTo>
                  <a:pt x="144" y="11"/>
                  <a:pt x="112" y="0"/>
                  <a:pt x="72" y="0"/>
                </a:cubicBezTo>
                <a:cubicBezTo>
                  <a:pt x="32" y="0"/>
                  <a:pt x="0" y="11"/>
                  <a:pt x="0" y="24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59"/>
                  <a:pt x="2" y="61"/>
                  <a:pt x="4" y="64"/>
                </a:cubicBezTo>
                <a:cubicBezTo>
                  <a:pt x="2" y="67"/>
                  <a:pt x="0" y="69"/>
                  <a:pt x="0" y="72"/>
                </a:cubicBezTo>
                <a:cubicBezTo>
                  <a:pt x="0" y="104"/>
                  <a:pt x="0" y="104"/>
                  <a:pt x="0" y="104"/>
                </a:cubicBezTo>
                <a:cubicBezTo>
                  <a:pt x="0" y="107"/>
                  <a:pt x="2" y="109"/>
                  <a:pt x="4" y="112"/>
                </a:cubicBezTo>
                <a:cubicBezTo>
                  <a:pt x="2" y="115"/>
                  <a:pt x="0" y="117"/>
                  <a:pt x="0" y="120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165"/>
                  <a:pt x="32" y="176"/>
                  <a:pt x="72" y="176"/>
                </a:cubicBezTo>
                <a:cubicBezTo>
                  <a:pt x="112" y="176"/>
                  <a:pt x="144" y="165"/>
                  <a:pt x="144" y="152"/>
                </a:cubicBezTo>
                <a:cubicBezTo>
                  <a:pt x="144" y="120"/>
                  <a:pt x="144" y="120"/>
                  <a:pt x="144" y="120"/>
                </a:cubicBezTo>
                <a:cubicBezTo>
                  <a:pt x="144" y="117"/>
                  <a:pt x="142" y="115"/>
                  <a:pt x="140" y="112"/>
                </a:cubicBezTo>
                <a:cubicBezTo>
                  <a:pt x="142" y="109"/>
                  <a:pt x="144" y="107"/>
                  <a:pt x="144" y="104"/>
                </a:cubicBezTo>
                <a:cubicBezTo>
                  <a:pt x="144" y="72"/>
                  <a:pt x="144" y="72"/>
                  <a:pt x="144" y="72"/>
                </a:cubicBezTo>
                <a:cubicBezTo>
                  <a:pt x="144" y="69"/>
                  <a:pt x="142" y="67"/>
                  <a:pt x="140" y="64"/>
                </a:cubicBezTo>
                <a:cubicBezTo>
                  <a:pt x="142" y="61"/>
                  <a:pt x="144" y="59"/>
                  <a:pt x="144" y="56"/>
                </a:cubicBezTo>
                <a:lnTo>
                  <a:pt x="144" y="24"/>
                </a:lnTo>
                <a:close/>
                <a:moveTo>
                  <a:pt x="136" y="152"/>
                </a:moveTo>
                <a:cubicBezTo>
                  <a:pt x="136" y="161"/>
                  <a:pt x="107" y="168"/>
                  <a:pt x="72" y="168"/>
                </a:cubicBezTo>
                <a:cubicBezTo>
                  <a:pt x="37" y="168"/>
                  <a:pt x="8" y="161"/>
                  <a:pt x="8" y="152"/>
                </a:cubicBezTo>
                <a:cubicBezTo>
                  <a:pt x="8" y="131"/>
                  <a:pt x="8" y="131"/>
                  <a:pt x="8" y="131"/>
                </a:cubicBezTo>
                <a:cubicBezTo>
                  <a:pt x="20" y="139"/>
                  <a:pt x="44" y="144"/>
                  <a:pt x="72" y="144"/>
                </a:cubicBezTo>
                <a:cubicBezTo>
                  <a:pt x="100" y="144"/>
                  <a:pt x="124" y="139"/>
                  <a:pt x="136" y="131"/>
                </a:cubicBezTo>
                <a:lnTo>
                  <a:pt x="136" y="152"/>
                </a:lnTo>
                <a:close/>
                <a:moveTo>
                  <a:pt x="72" y="136"/>
                </a:moveTo>
                <a:cubicBezTo>
                  <a:pt x="37" y="136"/>
                  <a:pt x="8" y="129"/>
                  <a:pt x="8" y="120"/>
                </a:cubicBezTo>
                <a:cubicBezTo>
                  <a:pt x="8" y="119"/>
                  <a:pt x="9" y="117"/>
                  <a:pt x="10" y="116"/>
                </a:cubicBezTo>
                <a:cubicBezTo>
                  <a:pt x="22" y="123"/>
                  <a:pt x="46" y="128"/>
                  <a:pt x="72" y="128"/>
                </a:cubicBezTo>
                <a:cubicBezTo>
                  <a:pt x="98" y="128"/>
                  <a:pt x="122" y="123"/>
                  <a:pt x="134" y="116"/>
                </a:cubicBezTo>
                <a:cubicBezTo>
                  <a:pt x="135" y="117"/>
                  <a:pt x="136" y="119"/>
                  <a:pt x="136" y="120"/>
                </a:cubicBezTo>
                <a:cubicBezTo>
                  <a:pt x="136" y="129"/>
                  <a:pt x="107" y="136"/>
                  <a:pt x="72" y="136"/>
                </a:cubicBezTo>
                <a:moveTo>
                  <a:pt x="136" y="104"/>
                </a:moveTo>
                <a:cubicBezTo>
                  <a:pt x="136" y="113"/>
                  <a:pt x="107" y="120"/>
                  <a:pt x="72" y="120"/>
                </a:cubicBezTo>
                <a:cubicBezTo>
                  <a:pt x="37" y="120"/>
                  <a:pt x="8" y="113"/>
                  <a:pt x="8" y="104"/>
                </a:cubicBezTo>
                <a:cubicBezTo>
                  <a:pt x="8" y="83"/>
                  <a:pt x="8" y="83"/>
                  <a:pt x="8" y="83"/>
                </a:cubicBezTo>
                <a:cubicBezTo>
                  <a:pt x="20" y="91"/>
                  <a:pt x="44" y="96"/>
                  <a:pt x="72" y="96"/>
                </a:cubicBezTo>
                <a:cubicBezTo>
                  <a:pt x="100" y="96"/>
                  <a:pt x="124" y="91"/>
                  <a:pt x="136" y="83"/>
                </a:cubicBezTo>
                <a:lnTo>
                  <a:pt x="136" y="104"/>
                </a:lnTo>
                <a:close/>
                <a:moveTo>
                  <a:pt x="72" y="88"/>
                </a:moveTo>
                <a:cubicBezTo>
                  <a:pt x="37" y="88"/>
                  <a:pt x="8" y="81"/>
                  <a:pt x="8" y="72"/>
                </a:cubicBezTo>
                <a:cubicBezTo>
                  <a:pt x="8" y="71"/>
                  <a:pt x="9" y="69"/>
                  <a:pt x="10" y="68"/>
                </a:cubicBezTo>
                <a:cubicBezTo>
                  <a:pt x="22" y="75"/>
                  <a:pt x="46" y="80"/>
                  <a:pt x="72" y="80"/>
                </a:cubicBezTo>
                <a:cubicBezTo>
                  <a:pt x="98" y="80"/>
                  <a:pt x="122" y="75"/>
                  <a:pt x="134" y="68"/>
                </a:cubicBezTo>
                <a:cubicBezTo>
                  <a:pt x="135" y="69"/>
                  <a:pt x="136" y="71"/>
                  <a:pt x="136" y="72"/>
                </a:cubicBezTo>
                <a:cubicBezTo>
                  <a:pt x="136" y="81"/>
                  <a:pt x="107" y="88"/>
                  <a:pt x="72" y="88"/>
                </a:cubicBezTo>
                <a:moveTo>
                  <a:pt x="136" y="56"/>
                </a:moveTo>
                <a:cubicBezTo>
                  <a:pt x="136" y="65"/>
                  <a:pt x="107" y="72"/>
                  <a:pt x="72" y="72"/>
                </a:cubicBezTo>
                <a:cubicBezTo>
                  <a:pt x="37" y="72"/>
                  <a:pt x="8" y="65"/>
                  <a:pt x="8" y="56"/>
                </a:cubicBezTo>
                <a:cubicBezTo>
                  <a:pt x="8" y="35"/>
                  <a:pt x="8" y="35"/>
                  <a:pt x="8" y="35"/>
                </a:cubicBezTo>
                <a:cubicBezTo>
                  <a:pt x="20" y="43"/>
                  <a:pt x="44" y="48"/>
                  <a:pt x="72" y="48"/>
                </a:cubicBezTo>
                <a:cubicBezTo>
                  <a:pt x="100" y="48"/>
                  <a:pt x="124" y="43"/>
                  <a:pt x="136" y="35"/>
                </a:cubicBezTo>
                <a:lnTo>
                  <a:pt x="136" y="56"/>
                </a:lnTo>
                <a:close/>
                <a:moveTo>
                  <a:pt x="72" y="40"/>
                </a:moveTo>
                <a:cubicBezTo>
                  <a:pt x="37" y="40"/>
                  <a:pt x="8" y="33"/>
                  <a:pt x="8" y="24"/>
                </a:cubicBezTo>
                <a:cubicBezTo>
                  <a:pt x="8" y="15"/>
                  <a:pt x="37" y="8"/>
                  <a:pt x="72" y="8"/>
                </a:cubicBezTo>
                <a:cubicBezTo>
                  <a:pt x="107" y="8"/>
                  <a:pt x="136" y="15"/>
                  <a:pt x="136" y="24"/>
                </a:cubicBezTo>
                <a:cubicBezTo>
                  <a:pt x="136" y="33"/>
                  <a:pt x="107" y="40"/>
                  <a:pt x="72" y="40"/>
                </a:cubicBezTo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37176" tIns="68588" rIns="137176" bIns="68588" numCol="1" anchor="t" anchorCtr="0" compatLnSpc="1">
            <a:prstTxWarp prst="textNoShape">
              <a:avLst/>
            </a:prstTxWarp>
          </a:bodyPr>
          <a:lstStyle/>
          <a:p>
            <a:endParaRPr lang="en-GB" sz="2700" spc="40"/>
          </a:p>
        </p:txBody>
      </p:sp>
      <p:sp>
        <p:nvSpPr>
          <p:cNvPr id="20" name="Rectangle 35">
            <a:extLst>
              <a:ext uri="{FF2B5EF4-FFF2-40B4-BE49-F238E27FC236}">
                <a16:creationId xmlns:a16="http://schemas.microsoft.com/office/drawing/2014/main" id="{BCCF812C-9921-C249-AEB5-5C451B937C83}"/>
              </a:ext>
            </a:extLst>
          </p:cNvPr>
          <p:cNvSpPr/>
          <p:nvPr/>
        </p:nvSpPr>
        <p:spPr>
          <a:xfrm rot="10800000" flipV="1">
            <a:off x="1667508" y="3991591"/>
            <a:ext cx="9541060" cy="56653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21" tIns="93611" rIns="180021" bIns="93611" rtlCol="0" anchor="ctr"/>
          <a:lstStyle/>
          <a:p>
            <a:r>
              <a:rPr lang="en-GB" spc="40" dirty="0">
                <a:solidFill>
                  <a:schemeClr val="accent1"/>
                </a:solidFill>
              </a:rPr>
              <a:t>Check all open position from database and if the conditions for sell applies: SELL</a:t>
            </a:r>
          </a:p>
        </p:txBody>
      </p:sp>
      <p:sp>
        <p:nvSpPr>
          <p:cNvPr id="21" name="Freeform 55">
            <a:extLst>
              <a:ext uri="{FF2B5EF4-FFF2-40B4-BE49-F238E27FC236}">
                <a16:creationId xmlns:a16="http://schemas.microsoft.com/office/drawing/2014/main" id="{654D40C1-0C7B-4F46-9FFF-8BC9B1B7978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35997" y="5767010"/>
            <a:ext cx="457253" cy="559659"/>
          </a:xfrm>
          <a:custGeom>
            <a:avLst/>
            <a:gdLst>
              <a:gd name="T0" fmla="*/ 144 w 144"/>
              <a:gd name="T1" fmla="*/ 24 h 176"/>
              <a:gd name="T2" fmla="*/ 72 w 144"/>
              <a:gd name="T3" fmla="*/ 0 h 176"/>
              <a:gd name="T4" fmla="*/ 0 w 144"/>
              <a:gd name="T5" fmla="*/ 24 h 176"/>
              <a:gd name="T6" fmla="*/ 0 w 144"/>
              <a:gd name="T7" fmla="*/ 56 h 176"/>
              <a:gd name="T8" fmla="*/ 4 w 144"/>
              <a:gd name="T9" fmla="*/ 64 h 176"/>
              <a:gd name="T10" fmla="*/ 0 w 144"/>
              <a:gd name="T11" fmla="*/ 72 h 176"/>
              <a:gd name="T12" fmla="*/ 0 w 144"/>
              <a:gd name="T13" fmla="*/ 104 h 176"/>
              <a:gd name="T14" fmla="*/ 4 w 144"/>
              <a:gd name="T15" fmla="*/ 112 h 176"/>
              <a:gd name="T16" fmla="*/ 0 w 144"/>
              <a:gd name="T17" fmla="*/ 120 h 176"/>
              <a:gd name="T18" fmla="*/ 0 w 144"/>
              <a:gd name="T19" fmla="*/ 152 h 176"/>
              <a:gd name="T20" fmla="*/ 72 w 144"/>
              <a:gd name="T21" fmla="*/ 176 h 176"/>
              <a:gd name="T22" fmla="*/ 144 w 144"/>
              <a:gd name="T23" fmla="*/ 152 h 176"/>
              <a:gd name="T24" fmla="*/ 144 w 144"/>
              <a:gd name="T25" fmla="*/ 120 h 176"/>
              <a:gd name="T26" fmla="*/ 140 w 144"/>
              <a:gd name="T27" fmla="*/ 112 h 176"/>
              <a:gd name="T28" fmla="*/ 144 w 144"/>
              <a:gd name="T29" fmla="*/ 104 h 176"/>
              <a:gd name="T30" fmla="*/ 144 w 144"/>
              <a:gd name="T31" fmla="*/ 72 h 176"/>
              <a:gd name="T32" fmla="*/ 140 w 144"/>
              <a:gd name="T33" fmla="*/ 64 h 176"/>
              <a:gd name="T34" fmla="*/ 144 w 144"/>
              <a:gd name="T35" fmla="*/ 56 h 176"/>
              <a:gd name="T36" fmla="*/ 144 w 144"/>
              <a:gd name="T37" fmla="*/ 24 h 176"/>
              <a:gd name="T38" fmla="*/ 136 w 144"/>
              <a:gd name="T39" fmla="*/ 152 h 176"/>
              <a:gd name="T40" fmla="*/ 72 w 144"/>
              <a:gd name="T41" fmla="*/ 168 h 176"/>
              <a:gd name="T42" fmla="*/ 8 w 144"/>
              <a:gd name="T43" fmla="*/ 152 h 176"/>
              <a:gd name="T44" fmla="*/ 8 w 144"/>
              <a:gd name="T45" fmla="*/ 131 h 176"/>
              <a:gd name="T46" fmla="*/ 72 w 144"/>
              <a:gd name="T47" fmla="*/ 144 h 176"/>
              <a:gd name="T48" fmla="*/ 136 w 144"/>
              <a:gd name="T49" fmla="*/ 131 h 176"/>
              <a:gd name="T50" fmla="*/ 136 w 144"/>
              <a:gd name="T51" fmla="*/ 152 h 176"/>
              <a:gd name="T52" fmla="*/ 72 w 144"/>
              <a:gd name="T53" fmla="*/ 136 h 176"/>
              <a:gd name="T54" fmla="*/ 8 w 144"/>
              <a:gd name="T55" fmla="*/ 120 h 176"/>
              <a:gd name="T56" fmla="*/ 10 w 144"/>
              <a:gd name="T57" fmla="*/ 116 h 176"/>
              <a:gd name="T58" fmla="*/ 72 w 144"/>
              <a:gd name="T59" fmla="*/ 128 h 176"/>
              <a:gd name="T60" fmla="*/ 134 w 144"/>
              <a:gd name="T61" fmla="*/ 116 h 176"/>
              <a:gd name="T62" fmla="*/ 136 w 144"/>
              <a:gd name="T63" fmla="*/ 120 h 176"/>
              <a:gd name="T64" fmla="*/ 72 w 144"/>
              <a:gd name="T65" fmla="*/ 136 h 176"/>
              <a:gd name="T66" fmla="*/ 136 w 144"/>
              <a:gd name="T67" fmla="*/ 104 h 176"/>
              <a:gd name="T68" fmla="*/ 72 w 144"/>
              <a:gd name="T69" fmla="*/ 120 h 176"/>
              <a:gd name="T70" fmla="*/ 8 w 144"/>
              <a:gd name="T71" fmla="*/ 104 h 176"/>
              <a:gd name="T72" fmla="*/ 8 w 144"/>
              <a:gd name="T73" fmla="*/ 83 h 176"/>
              <a:gd name="T74" fmla="*/ 72 w 144"/>
              <a:gd name="T75" fmla="*/ 96 h 176"/>
              <a:gd name="T76" fmla="*/ 136 w 144"/>
              <a:gd name="T77" fmla="*/ 83 h 176"/>
              <a:gd name="T78" fmla="*/ 136 w 144"/>
              <a:gd name="T79" fmla="*/ 104 h 176"/>
              <a:gd name="T80" fmla="*/ 72 w 144"/>
              <a:gd name="T81" fmla="*/ 88 h 176"/>
              <a:gd name="T82" fmla="*/ 8 w 144"/>
              <a:gd name="T83" fmla="*/ 72 h 176"/>
              <a:gd name="T84" fmla="*/ 10 w 144"/>
              <a:gd name="T85" fmla="*/ 68 h 176"/>
              <a:gd name="T86" fmla="*/ 72 w 144"/>
              <a:gd name="T87" fmla="*/ 80 h 176"/>
              <a:gd name="T88" fmla="*/ 134 w 144"/>
              <a:gd name="T89" fmla="*/ 68 h 176"/>
              <a:gd name="T90" fmla="*/ 136 w 144"/>
              <a:gd name="T91" fmla="*/ 72 h 176"/>
              <a:gd name="T92" fmla="*/ 72 w 144"/>
              <a:gd name="T93" fmla="*/ 88 h 176"/>
              <a:gd name="T94" fmla="*/ 136 w 144"/>
              <a:gd name="T95" fmla="*/ 56 h 176"/>
              <a:gd name="T96" fmla="*/ 72 w 144"/>
              <a:gd name="T97" fmla="*/ 72 h 176"/>
              <a:gd name="T98" fmla="*/ 8 w 144"/>
              <a:gd name="T99" fmla="*/ 56 h 176"/>
              <a:gd name="T100" fmla="*/ 8 w 144"/>
              <a:gd name="T101" fmla="*/ 35 h 176"/>
              <a:gd name="T102" fmla="*/ 72 w 144"/>
              <a:gd name="T103" fmla="*/ 48 h 176"/>
              <a:gd name="T104" fmla="*/ 136 w 144"/>
              <a:gd name="T105" fmla="*/ 35 h 176"/>
              <a:gd name="T106" fmla="*/ 136 w 144"/>
              <a:gd name="T107" fmla="*/ 56 h 176"/>
              <a:gd name="T108" fmla="*/ 72 w 144"/>
              <a:gd name="T109" fmla="*/ 40 h 176"/>
              <a:gd name="T110" fmla="*/ 8 w 144"/>
              <a:gd name="T111" fmla="*/ 24 h 176"/>
              <a:gd name="T112" fmla="*/ 72 w 144"/>
              <a:gd name="T113" fmla="*/ 8 h 176"/>
              <a:gd name="T114" fmla="*/ 136 w 144"/>
              <a:gd name="T115" fmla="*/ 24 h 176"/>
              <a:gd name="T116" fmla="*/ 72 w 144"/>
              <a:gd name="T117" fmla="*/ 40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44" h="176">
                <a:moveTo>
                  <a:pt x="144" y="24"/>
                </a:moveTo>
                <a:cubicBezTo>
                  <a:pt x="144" y="11"/>
                  <a:pt x="112" y="0"/>
                  <a:pt x="72" y="0"/>
                </a:cubicBezTo>
                <a:cubicBezTo>
                  <a:pt x="32" y="0"/>
                  <a:pt x="0" y="11"/>
                  <a:pt x="0" y="24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59"/>
                  <a:pt x="2" y="61"/>
                  <a:pt x="4" y="64"/>
                </a:cubicBezTo>
                <a:cubicBezTo>
                  <a:pt x="2" y="67"/>
                  <a:pt x="0" y="69"/>
                  <a:pt x="0" y="72"/>
                </a:cubicBezTo>
                <a:cubicBezTo>
                  <a:pt x="0" y="104"/>
                  <a:pt x="0" y="104"/>
                  <a:pt x="0" y="104"/>
                </a:cubicBezTo>
                <a:cubicBezTo>
                  <a:pt x="0" y="107"/>
                  <a:pt x="2" y="109"/>
                  <a:pt x="4" y="112"/>
                </a:cubicBezTo>
                <a:cubicBezTo>
                  <a:pt x="2" y="115"/>
                  <a:pt x="0" y="117"/>
                  <a:pt x="0" y="120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165"/>
                  <a:pt x="32" y="176"/>
                  <a:pt x="72" y="176"/>
                </a:cubicBezTo>
                <a:cubicBezTo>
                  <a:pt x="112" y="176"/>
                  <a:pt x="144" y="165"/>
                  <a:pt x="144" y="152"/>
                </a:cubicBezTo>
                <a:cubicBezTo>
                  <a:pt x="144" y="120"/>
                  <a:pt x="144" y="120"/>
                  <a:pt x="144" y="120"/>
                </a:cubicBezTo>
                <a:cubicBezTo>
                  <a:pt x="144" y="117"/>
                  <a:pt x="142" y="115"/>
                  <a:pt x="140" y="112"/>
                </a:cubicBezTo>
                <a:cubicBezTo>
                  <a:pt x="142" y="109"/>
                  <a:pt x="144" y="107"/>
                  <a:pt x="144" y="104"/>
                </a:cubicBezTo>
                <a:cubicBezTo>
                  <a:pt x="144" y="72"/>
                  <a:pt x="144" y="72"/>
                  <a:pt x="144" y="72"/>
                </a:cubicBezTo>
                <a:cubicBezTo>
                  <a:pt x="144" y="69"/>
                  <a:pt x="142" y="67"/>
                  <a:pt x="140" y="64"/>
                </a:cubicBezTo>
                <a:cubicBezTo>
                  <a:pt x="142" y="61"/>
                  <a:pt x="144" y="59"/>
                  <a:pt x="144" y="56"/>
                </a:cubicBezTo>
                <a:lnTo>
                  <a:pt x="144" y="24"/>
                </a:lnTo>
                <a:close/>
                <a:moveTo>
                  <a:pt x="136" y="152"/>
                </a:moveTo>
                <a:cubicBezTo>
                  <a:pt x="136" y="161"/>
                  <a:pt x="107" y="168"/>
                  <a:pt x="72" y="168"/>
                </a:cubicBezTo>
                <a:cubicBezTo>
                  <a:pt x="37" y="168"/>
                  <a:pt x="8" y="161"/>
                  <a:pt x="8" y="152"/>
                </a:cubicBezTo>
                <a:cubicBezTo>
                  <a:pt x="8" y="131"/>
                  <a:pt x="8" y="131"/>
                  <a:pt x="8" y="131"/>
                </a:cubicBezTo>
                <a:cubicBezTo>
                  <a:pt x="20" y="139"/>
                  <a:pt x="44" y="144"/>
                  <a:pt x="72" y="144"/>
                </a:cubicBezTo>
                <a:cubicBezTo>
                  <a:pt x="100" y="144"/>
                  <a:pt x="124" y="139"/>
                  <a:pt x="136" y="131"/>
                </a:cubicBezTo>
                <a:lnTo>
                  <a:pt x="136" y="152"/>
                </a:lnTo>
                <a:close/>
                <a:moveTo>
                  <a:pt x="72" y="136"/>
                </a:moveTo>
                <a:cubicBezTo>
                  <a:pt x="37" y="136"/>
                  <a:pt x="8" y="129"/>
                  <a:pt x="8" y="120"/>
                </a:cubicBezTo>
                <a:cubicBezTo>
                  <a:pt x="8" y="119"/>
                  <a:pt x="9" y="117"/>
                  <a:pt x="10" y="116"/>
                </a:cubicBezTo>
                <a:cubicBezTo>
                  <a:pt x="22" y="123"/>
                  <a:pt x="46" y="128"/>
                  <a:pt x="72" y="128"/>
                </a:cubicBezTo>
                <a:cubicBezTo>
                  <a:pt x="98" y="128"/>
                  <a:pt x="122" y="123"/>
                  <a:pt x="134" y="116"/>
                </a:cubicBezTo>
                <a:cubicBezTo>
                  <a:pt x="135" y="117"/>
                  <a:pt x="136" y="119"/>
                  <a:pt x="136" y="120"/>
                </a:cubicBezTo>
                <a:cubicBezTo>
                  <a:pt x="136" y="129"/>
                  <a:pt x="107" y="136"/>
                  <a:pt x="72" y="136"/>
                </a:cubicBezTo>
                <a:moveTo>
                  <a:pt x="136" y="104"/>
                </a:moveTo>
                <a:cubicBezTo>
                  <a:pt x="136" y="113"/>
                  <a:pt x="107" y="120"/>
                  <a:pt x="72" y="120"/>
                </a:cubicBezTo>
                <a:cubicBezTo>
                  <a:pt x="37" y="120"/>
                  <a:pt x="8" y="113"/>
                  <a:pt x="8" y="104"/>
                </a:cubicBezTo>
                <a:cubicBezTo>
                  <a:pt x="8" y="83"/>
                  <a:pt x="8" y="83"/>
                  <a:pt x="8" y="83"/>
                </a:cubicBezTo>
                <a:cubicBezTo>
                  <a:pt x="20" y="91"/>
                  <a:pt x="44" y="96"/>
                  <a:pt x="72" y="96"/>
                </a:cubicBezTo>
                <a:cubicBezTo>
                  <a:pt x="100" y="96"/>
                  <a:pt x="124" y="91"/>
                  <a:pt x="136" y="83"/>
                </a:cubicBezTo>
                <a:lnTo>
                  <a:pt x="136" y="104"/>
                </a:lnTo>
                <a:close/>
                <a:moveTo>
                  <a:pt x="72" y="88"/>
                </a:moveTo>
                <a:cubicBezTo>
                  <a:pt x="37" y="88"/>
                  <a:pt x="8" y="81"/>
                  <a:pt x="8" y="72"/>
                </a:cubicBezTo>
                <a:cubicBezTo>
                  <a:pt x="8" y="71"/>
                  <a:pt x="9" y="69"/>
                  <a:pt x="10" y="68"/>
                </a:cubicBezTo>
                <a:cubicBezTo>
                  <a:pt x="22" y="75"/>
                  <a:pt x="46" y="80"/>
                  <a:pt x="72" y="80"/>
                </a:cubicBezTo>
                <a:cubicBezTo>
                  <a:pt x="98" y="80"/>
                  <a:pt x="122" y="75"/>
                  <a:pt x="134" y="68"/>
                </a:cubicBezTo>
                <a:cubicBezTo>
                  <a:pt x="135" y="69"/>
                  <a:pt x="136" y="71"/>
                  <a:pt x="136" y="72"/>
                </a:cubicBezTo>
                <a:cubicBezTo>
                  <a:pt x="136" y="81"/>
                  <a:pt x="107" y="88"/>
                  <a:pt x="72" y="88"/>
                </a:cubicBezTo>
                <a:moveTo>
                  <a:pt x="136" y="56"/>
                </a:moveTo>
                <a:cubicBezTo>
                  <a:pt x="136" y="65"/>
                  <a:pt x="107" y="72"/>
                  <a:pt x="72" y="72"/>
                </a:cubicBezTo>
                <a:cubicBezTo>
                  <a:pt x="37" y="72"/>
                  <a:pt x="8" y="65"/>
                  <a:pt x="8" y="56"/>
                </a:cubicBezTo>
                <a:cubicBezTo>
                  <a:pt x="8" y="35"/>
                  <a:pt x="8" y="35"/>
                  <a:pt x="8" y="35"/>
                </a:cubicBezTo>
                <a:cubicBezTo>
                  <a:pt x="20" y="43"/>
                  <a:pt x="44" y="48"/>
                  <a:pt x="72" y="48"/>
                </a:cubicBezTo>
                <a:cubicBezTo>
                  <a:pt x="100" y="48"/>
                  <a:pt x="124" y="43"/>
                  <a:pt x="136" y="35"/>
                </a:cubicBezTo>
                <a:lnTo>
                  <a:pt x="136" y="56"/>
                </a:lnTo>
                <a:close/>
                <a:moveTo>
                  <a:pt x="72" y="40"/>
                </a:moveTo>
                <a:cubicBezTo>
                  <a:pt x="37" y="40"/>
                  <a:pt x="8" y="33"/>
                  <a:pt x="8" y="24"/>
                </a:cubicBezTo>
                <a:cubicBezTo>
                  <a:pt x="8" y="15"/>
                  <a:pt x="37" y="8"/>
                  <a:pt x="72" y="8"/>
                </a:cubicBezTo>
                <a:cubicBezTo>
                  <a:pt x="107" y="8"/>
                  <a:pt x="136" y="15"/>
                  <a:pt x="136" y="24"/>
                </a:cubicBezTo>
                <a:cubicBezTo>
                  <a:pt x="136" y="33"/>
                  <a:pt x="107" y="40"/>
                  <a:pt x="72" y="40"/>
                </a:cubicBezTo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37176" tIns="68588" rIns="137176" bIns="68588" numCol="1" anchor="t" anchorCtr="0" compatLnSpc="1">
            <a:prstTxWarp prst="textNoShape">
              <a:avLst/>
            </a:prstTxWarp>
          </a:bodyPr>
          <a:lstStyle/>
          <a:p>
            <a:endParaRPr lang="en-GB" sz="2700" spc="4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305F3C5-D732-434D-A6BA-0151ABA34FDC}"/>
              </a:ext>
            </a:extLst>
          </p:cNvPr>
          <p:cNvSpPr txBox="1"/>
          <p:nvPr/>
        </p:nvSpPr>
        <p:spPr>
          <a:xfrm>
            <a:off x="793250" y="6001043"/>
            <a:ext cx="2591479" cy="2215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600" dirty="0"/>
              <a:t>= more instances are doing this</a:t>
            </a:r>
          </a:p>
        </p:txBody>
      </p:sp>
      <p:sp>
        <p:nvSpPr>
          <p:cNvPr id="22" name="Rectangle 35">
            <a:extLst>
              <a:ext uri="{FF2B5EF4-FFF2-40B4-BE49-F238E27FC236}">
                <a16:creationId xmlns:a16="http://schemas.microsoft.com/office/drawing/2014/main" id="{051D3CCF-70F9-F244-A3FF-20DC2BAA29EE}"/>
              </a:ext>
            </a:extLst>
          </p:cNvPr>
          <p:cNvSpPr/>
          <p:nvPr/>
        </p:nvSpPr>
        <p:spPr>
          <a:xfrm rot="10800000" flipV="1">
            <a:off x="1919536" y="4652631"/>
            <a:ext cx="9541060" cy="566539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noFill/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21" tIns="93611" rIns="180021" bIns="93611" rtlCol="0" anchor="ctr"/>
          <a:lstStyle/>
          <a:p>
            <a:r>
              <a:rPr lang="en-GB" spc="40" dirty="0">
                <a:solidFill>
                  <a:schemeClr val="accent3"/>
                </a:solidFill>
              </a:rPr>
              <a:t>EMERGENCY Script, if we do not reach 250 transactions per day</a:t>
            </a:r>
          </a:p>
        </p:txBody>
      </p:sp>
    </p:spTree>
    <p:extLst>
      <p:ext uri="{BB962C8B-B14F-4D97-AF65-F5344CB8AC3E}">
        <p14:creationId xmlns:p14="http://schemas.microsoft.com/office/powerpoint/2010/main" val="5709236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2&quot;&gt;&lt;elem m_fUsage=&quot;1.00000000000000000000E+000&quot;&gt;&lt;m_msothmcolidx val=&quot;0&quot;/&gt;&lt;m_rgb r=&quot;0&quot; g=&quot;a0&quot; b=&quot;f5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0&quot; g=&quot;78&quot; b=&quot;dc&quot;/&gt;&lt;m_ppcolschidx tagver0=&quot;23004&quot; tagname0=&quot;m_ppcolschidxUNRECOGNIZED&quot; val=&quot;0&quot;/&gt;&lt;m_nBrightness val=&quot;0&quot;/&gt;&lt;/elem&gt;&lt;/m_vecMRU&gt;&lt;/m_mruColor&gt;&lt;/CPresentation&gt;&lt;/root&gt;"/>
  <p:tag name="EE4P_STYLE_ID" val="16x9e03112-3f35-4972-a433-d1af116995fe"/>
  <p:tag name="EE4P_AGENDAWIZARD" val="&lt;ee4p&gt;&lt;layouts&gt;&lt;layout name=&quot;tk numbered&quot; id=&quot;53_2&quot;&gt;&lt;standard&gt;&lt;textframe horizontalAnchor=&quot;1&quot; marginBottom=&quot;4.4&quot; marginLeft=&quot;0&quot; marginRight=&quot;0&quot; marginTop=&quot;4.4&quot; orientation=&quot;1&quot; verticalAnchor=&quot;1&quot; /&gt;&lt;font name=&quot;TKTypeMedium&quot; bold=&quot;0&quot; italic=&quot;0&quot; color=&quot;#4B5564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40.000001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20&quot; dock=&quot;2&quot; /&gt;&lt;column field=&quot;pageno&quot; label=&quot;Page No.&quot; visible=&quot;1&quot; checked=&quot;0&quot; leftSpacing=&quot;20&quot; rightSpacing=&quot;20&quot; dock=&quot;2&quot; /&gt;&lt;/columns&gt;&lt;position left=&quot;26.45669&quot; top=&quot;122.625&quot; width=&quot;907.0866&quot; height=&quot;357.159&quot; /&gt;&lt;subtitle&gt;&lt;position left=&quot;26.45669&quot; top=&quot;73.29504&quot; width=&quot;907.0866&quot; height=&quot;21.81095&quot; /&gt;&lt;font name=&quot;TKTypeMedium&quot; size=&quot;18&quot; bold=&quot;0&quot; italic=&quot;0&quot; underlineStyle=&quot;0&quot; color=&quot;#4B5564&quot; /&gt;&lt;textframe horizontalAnchor=&quot;1&quot; verticalAnchor=&quot;1&quot; orientation=&quot;1&quot; wordWrap=&quot;1&quot; autoSize=&quot;1&quot; marginLeft=&quot;0&quot; marginRight=&quot;0&quot; marginTop=&quot;0&quot; marginBottom=&quot;0&quot; /&gt;&lt;paragraphformat alignment=&quot;1&quot; lineRuleBefore=&quot;1&quot; lineRuleWithin=&quot;1&quot; lineRuleAfter=&quot;0&quot; spaceBefore=&quot;0&quot; spaceWithin=&quot;1&quot; spaceAfter=&quot;0&quot; /&gt;&lt;/subtitle&gt;&lt;settings allowedSizingModeIds=&quot;1|2&quot; allowedFontSizes=&quot;8|9|10|10.5|11|12|14|15|16|18&quot; allowedTimeFormatIds=&quot;1|2|3&quot; slideLayout=&quot;11&quot; customLayoutName=&quot;tk_headline|tk_Überschrift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15&quot; bottomMinSpacing=&quot;0&quot; bottomMaxSpacing=&quot;0&quot;&gt;&lt;element field=&quot;itemno&quot; type=&quot;autoshape&quot; autoShapeType=&quot;1&quot;&gt;&lt;textframe verticalAnchor=&quot;3&quot; /&gt;&lt;paragraphformat alignment=&quot;1&quot; /&gt;&lt;/element&gt;&lt;element field=&quot;topic&quot; type=&quot;autoshape&quot; autoShapeType=&quot;1&quot;&gt;&lt;paragraphformat alignment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15&quot; bottomMinSpacing=&quot;0&quot; bottomMaxSpacing=&quot;0&quot;&gt;&lt;element type=&quot;autoshape&quot; autoShapeType=&quot;1&quot; value=&quot;&quot;&gt;&lt;position left=&quot;-26.45669&quot; top=&quot;0&quot; width=&quot;agendaWidth+26.45669&quot; height=&quot;itemHeight&quot; /&gt;&lt;fill foreColor=&quot;#00A0F5&quot; visible=&quot;1&quot; /&gt;&lt;/element&gt;&lt;element field=&quot;itemno&quot; type=&quot;autoshape&quot; autoShapeType=&quot;1&quot;&gt;&lt;textframe verticalAnchor=&quot;3&quot; /&gt;&lt;paragraphformat alignment=&quot;1&quot; /&gt;&lt;font color=&quot;#ffffff&quot; /&gt;&lt;/element&gt;&lt;element field=&quot;topic&quot; type=&quot;autoshape&quot; autoShapeType=&quot;1&quot;&gt;&lt;paragraphformat alignment=&quot;1&quot; /&gt;&lt;font color=&quot;#ffffff&quot; /&gt;&lt;/element&gt;&lt;element field=&quot;responsible&quot; type=&quot;autoshape&quot; autoShapeType=&quot;1&quot;&gt;&lt;paragraphformat alignment=&quot;1&quot; /&gt;&lt;font color=&quot;#ffffff&quot; /&gt;&lt;/element&gt;&lt;element field=&quot;freecolumn&quot; type=&quot;autoshape&quot; autoShapeType=&quot;1&quot;&gt;&lt;paragraphformat alignment=&quot;1&quot; /&gt;&lt;font color=&quot;#ffffff&quot; /&gt;&lt;/element&gt;&lt;element field=&quot;timeslot&quot; type=&quot;autoshape&quot; autoShapeType=&quot;1&quot;&gt;&lt;paragraphformat alignment=&quot;1&quot; /&gt;&lt;font color=&quot;#ffffff&quot; /&gt;&lt;/element&gt;&lt;element field=&quot;pageno&quot; type=&quot;autoshape&quot; autoShapeType=&quot;1&quot;&gt;&lt;paragraphformat alignment=&quot;3&quot; /&gt;&lt;font color=&quot;#ffffff&quot; /&gt;&lt;/element&gt;&lt;/case&gt;&lt;case level=&quot;2&quot; selected=&quot;0&quot; break=&quot;0&quot; topMinSpacing=&quot;0&quot; topMaxSpacing=&quot;3&quot; bottomMinSpacing=&quot;0&quot; bottomMaxSpacing=&quot;0&quot;&gt;&lt;element field=&quot;itemno&quot; type=&quot;autoshape&quot; autoShapeType=&quot;1&quot; indent=&quot;(level-1)*40.000001&quot; indentType=&quot;1&quot;&gt;&lt;textframe verticalAnchor=&quot;3&quot; /&gt;&lt;paragraphformat alignment=&quot;1&quot; /&gt;&lt;/element&gt;&lt;element field=&quot;topic&quot; type=&quot;autoshape&quot; autoShapeType=&quot;1&quot; indent=&quot;(level-1)*40.000001&quot; indentType=&quot;2&quot;&gt;&lt;paragraphformat alignment=&quot;1&quot; /&gt;&lt;/element&gt;&lt;element field=&quot;responsible&quot; type=&quot;autoshape&quot; autoShapeType=&quot;1&quot; indent=&quot;(level-1)*40.000001&quot; indentType=&quot;1&quot;&gt;&lt;paragraphformat alignment=&quot;1&quot; /&gt;&lt;/element&gt;&lt;element field=&quot;freecolumn&quot; type=&quot;autoshape&quot; autoShapeType=&quot;1&quot; indent=&quot;(level-1)*40.00000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0&quot; topMaxSpacing=&quot;3&quot; bottomMinSpacing=&quot;0&quot; bottomMaxSpacing=&quot;0&quot;&gt;&lt;element type=&quot;autoshape&quot; autoShapeType=&quot;1&quot; value=&quot;&quot;&gt;&lt;position left=&quot;-26.45669&quot; top=&quot;0&quot; width=&quot;agendaWidth+26.45669&quot; height=&quot;itemHeight&quot; /&gt;&lt;fill foreColor=&quot;#00A0F5&quot; visible=&quot;1&quot; /&gt;&lt;/element&gt;&lt;element field=&quot;itemno&quot; type=&quot;autoshape&quot; autoShapeType=&quot;1&quot; indent=&quot;(level-1)*40.000001&quot; indentType=&quot;1&quot;&gt;&lt;textframe verticalAnchor=&quot;3&quot; /&gt;&lt;paragraphformat alignment=&quot;1&quot; /&gt;&lt;font color=&quot;#ffffff&quot; /&gt;&lt;/element&gt;&lt;element field=&quot;topic&quot; type=&quot;autoshape&quot; autoShapeType=&quot;1&quot; indent=&quot;(level-1)*40.000001&quot; indentType=&quot;2&quot;&gt;&lt;paragraphformat alignment=&quot;1&quot; /&gt;&lt;font color=&quot;#ffffff&quot; /&gt;&lt;/element&gt;&lt;element field=&quot;responsible&quot; type=&quot;autoshape&quot; autoShapeType=&quot;1&quot; indent=&quot;(level-1)*40.000001&quot; indentType=&quot;1&quot;&gt;&lt;paragraphformat alignment=&quot;1&quot; /&gt;&lt;font color=&quot;#ffffff&quot; /&gt;&lt;/element&gt;&lt;element field=&quot;freecolumn&quot; type=&quot;autoshape&quot; autoShapeType=&quot;1&quot; indent=&quot;(level-1)*40.000001&quot; indentType=&quot;1&quot;&gt;&lt;paragraphformat alignment=&quot;1&quot; /&gt;&lt;font color=&quot;#ffffff&quot; /&gt;&lt;/element&gt;&lt;element field=&quot;timeslot&quot; type=&quot;autoshape&quot; autoShapeType=&quot;1&quot;&gt;&lt;paragraphformat alignment=&quot;1&quot; /&gt;&lt;font color=&quot;#ffffff&quot; /&gt;&lt;/element&gt;&lt;element field=&quot;pageno&quot; type=&quot;autoshape&quot; autoShapeType=&quot;1&quot;&gt;&lt;paragraphformat alignment=&quot;3&quot; /&gt;&lt;font color=&quot;#ffffff&quot; /&gt;&lt;/element&gt;&lt;/case&gt;&lt;case level=&quot;1&quot; selected=&quot;0&quot; break=&quot;1&quot; topMinSpacing=&quot;5&quot; topMaxSpacing=&quot;15&quot; bottomMinSpacing=&quot;0&quot; bottomMaxSpacing=&quot;0&quot;&gt;&lt;element field=&quot;topic&quot; type=&quot;autoshape&quot; autoShapeType=&quot;1&quot;&gt;&lt;paragraphformat alignment=&quot;1&quot; /&gt;&lt;font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15&quot; bottomMinSpacing=&quot;0&quot; bottomMaxSpacing=&quot;0&quot;&gt;&lt;element type=&quot;autoshape&quot; autoShapeType=&quot;1&quot; value=&quot;&quot;&gt;&lt;position left=&quot;-26.45669&quot; top=&quot;0&quot; width=&quot;agendaWidth+26.45669&quot; height=&quot;itemHeight&quot; /&gt;&lt;fill foreColor=&quot;#00A0F5&quot; visible=&quot;1&quot; /&gt;&lt;/element&gt;&lt;element field=&quot;topic&quot; type=&quot;autoshape&quot; autoShapeType=&quot;1&quot;&gt;&lt;paragraphformat alignment=&quot;1&quot; /&gt;&lt;font italic=&quot;1&quot; color=&quot;#ffffff&quot; /&gt;&lt;/element&gt;&lt;element field=&quot;responsible&quot; type=&quot;autoshape&quot; autoShapeType=&quot;1&quot;&gt;&lt;paragraphformat alignment=&quot;1&quot; /&gt;&lt;font italic=&quot;1&quot; color=&quot;#ffffff&quot; /&gt;&lt;/element&gt;&lt;element field=&quot;freecolumn&quot; type=&quot;autoshape&quot; autoShapeType=&quot;1&quot;&gt;&lt;paragraphformat alignment=&quot;1&quot; /&gt;&lt;font italic=&quot;1&quot; color=&quot;#ffffff&quot; /&gt;&lt;/element&gt;&lt;element field=&quot;timeslot&quot; type=&quot;autoshape&quot; autoShapeType=&quot;1&quot;&gt;&lt;paragraphformat alignment=&quot;1&quot; /&gt;&lt;font italic=&quot;1&quot; color=&quot;#ffffff&quot; /&gt;&lt;/element&gt;&lt;element field=&quot;pageno&quot; type=&quot;autoshape&quot; autoShapeType=&quot;1&quot;&gt;&lt;paragraphformat alignment=&quot;3&quot; /&gt;&lt;font italic=&quot;1&quot; color=&quot;#ffffff&quot; /&gt;&lt;/element&gt;&lt;/case&gt;&lt;case level=&quot;2&quot; selected=&quot;0&quot; break=&quot;1&quot; topMinSpacing=&quot;0&quot; topMaxSpacing=&quot;3&quot; bottomMinSpacing=&quot;0&quot; bottomMaxSpacing=&quot;0&quot;&gt;&lt;element field=&quot;topic&quot; type=&quot;autoshape&quot; autoShapeType=&quot;1&quot; indent=&quot;(level-1)*40.000001&quot; indentType=&quot;2&quot;&gt;&lt;paragraphformat alignment=&quot;1&quot; /&gt;&lt;font italic=&quot;1&quot; /&gt;&lt;/element&gt;&lt;element field=&quot;responsible&quot; type=&quot;autoshape&quot; autoShapeType=&quot;1&quot; indent=&quot;(level-1)*40.000001&quot; indentType=&quot;1&quot;&gt;&lt;paragraphformat alignment=&quot;1&quot; /&gt;&lt;font italic=&quot;1&quot; /&gt;&lt;/element&gt;&lt;element field=&quot;freecolumn&quot; type=&quot;autoshape&quot; autoShapeType=&quot;1&quot; indent=&quot;(level-1)*40.000001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0&quot; topMaxSpacing=&quot;3&quot; bottomMinSpacing=&quot;0&quot; bottomMaxSpacing=&quot;0&quot;&gt;&lt;element type=&quot;autoshape&quot; autoShapeType=&quot;1&quot; value=&quot;&quot;&gt;&lt;position left=&quot;-26.45669&quot; top=&quot;0&quot; width=&quot;agendaWidth+26.45669&quot; height=&quot;itemHeight&quot; /&gt;&lt;fill foreColor=&quot;#00A0F5&quot; visible=&quot;1&quot; /&gt;&lt;/element&gt;&lt;element field=&quot;topic&quot; type=&quot;autoshape&quot; autoShapeType=&quot;1&quot; indent=&quot;(level-1)*40.000001&quot; indentType=&quot;2&quot;&gt;&lt;paragraphformat alignment=&quot;1&quot; /&gt;&lt;font italic=&quot;1&quot; color=&quot;#ffffff&quot; /&gt;&lt;/element&gt;&lt;element field=&quot;responsible&quot; type=&quot;autoshape&quot; autoShapeType=&quot;1&quot; indent=&quot;(level-1)*40.000001&quot; indentType=&quot;1&quot;&gt;&lt;paragraphformat alignment=&quot;1&quot; /&gt;&lt;font italic=&quot;1&quot; color=&quot;#ffffff&quot; /&gt;&lt;/element&gt;&lt;element field=&quot;freecolumn&quot; type=&quot;autoshape&quot; autoShapeType=&quot;1&quot; indent=&quot;(level-1)*40.000001&quot; indentType=&quot;1&quot;&gt;&lt;paragraphformat alignment=&quot;1&quot; /&gt;&lt;font italic=&quot;1&quot; color=&quot;#ffffff&quot; /&gt;&lt;/element&gt;&lt;element field=&quot;timeslot&quot; type=&quot;autoshape&quot; autoShapeType=&quot;1&quot;&gt;&lt;paragraphformat alignment=&quot;1&quot; /&gt;&lt;font italic=&quot;1&quot; color=&quot;#ffffff&quot; /&gt;&lt;/element&gt;&lt;element field=&quot;pageno&quot; type=&quot;autoshape&quot; autoShapeType=&quot;1&quot;&gt;&lt;paragraphformat alignment=&quot;3&quot; /&gt;&lt;font italic=&quot;1&quot; color=&quot;#ffffff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startTime=&quot;540&quot; timeFormatId=&quot;1&quot; startItemNo=&quot;1&quot; createSingleAgendaSlide=&quot;0&quot; createSeparatingSlides=&quot;1&quot; createBackupSlide=&quot;0&quot; layoutId=&quot;53_2&quot; fontSizeAuto=&quot;0&quot; createSections=&quot;0&quot;&gt;&lt;columns&gt;&lt;column field=&quot;itemno&quot; label=&quot;No.&quot; checked=&quot;1&quot; leftSpacing=&quot;0&quot; rightSpacing=&quot;0&quot; dock=&quot;1&quot; fixedWidth=&quot;40.000001&quot; /&gt;&lt;column field=&quot;topic&quot; label=&quot;Topic&quot; leftSpacing=&quot;0&quot; rightDistribute=&quot;1&quot; dock=&quot;1&quot; rightSpacing=&quot;668.4757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20&quot; dock=&quot;2&quot; /&gt;&lt;column field=&quot;pageno&quot; label=&quot;Page No.&quot; visible=&quot;1&quot; checked=&quot;0&quot; leftSpacing=&quot;20&quot; rightSpacing=&quot;20&quot; dock=&quot;2&quot; /&gt;&lt;/columns&gt;&lt;items&gt;&lt;item duration=&quot;30&quot; id=&quot;a31a7ae5-edf5-4bf9-bf87-9474186608e8&quot; parentId=&quot;&quot; level=&quot;1&quot; generateAgendaSlide=&quot;1&quot; showAgendaItem=&quot;1&quot; isBreak=&quot;0&quot; topic=&quot;Aufgabenblöcke im Praktikum&quot; agendaSlideId=&quot;85a0de3c-3898-4109-9b26-c58a957ed03c&quot; /&gt;&lt;item duration=&quot;30&quot; id=&quot;056afe02-9fff-453e-9708-79b201040909&quot; parentId=&quot;&quot; level=&quot;1&quot; generateAgendaSlide=&quot;1&quot; showAgendaItem=&quot;1&quot; isBreak=&quot;0&quot; topic=&quot;Ausgewählte Aufgabenfelder&quot; agendaSlideId=&quot;bef754c8-62b8-44dd-8684-79604ed70b0c&quot; /&gt;&lt;item duration=&quot;30&quot; id=&quot;6450a0be-7a70-4554-b8c8-ff35dfd580a0&quot; parentId=&quot;&quot; level=&quot;1&quot; generateAgendaSlide=&quot;1&quot; showAgendaItem=&quot;1&quot; isBreak=&quot;0&quot; topic=&quot;Praktikumsprojekt&quot; agendaSlideId=&quot;3ca5217d-3e8c-45bb-a901-8cfeaead9eb1&quot; /&gt;&lt;item duration=&quot;30&quot; id=&quot;c478e76b-fc17-4ff8-b040-efe2ad760fd2&quot; parentId=&quot;&quot; level=&quot;1&quot; generateAgendaSlide=&quot;1&quot; showAgendaItem=&quot;1&quot; isBreak=&quot;0&quot; topic=&quot;Recap &amp;amp; Ausblick&quot; agendaSlideId=&quot;52f47b0e-ddfd-4616-9cdc-175859aadf99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ca5217d-3e8c-45bb-a901-8cfeaead9eb1_ItemNo"/>
  <p:tag name="EE4P_AGENDAWIZARD_CONTENT" val="/3"/>
  <p:tag name="EE4P_AGENDAWIZARD_PROPERTIES" val="26.45669/209.172/40/28.2734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ef754c8-62b8-44dd-8684-79604ed70b0c_Topic"/>
  <p:tag name="EE4P_AGENDAWIZARD_CONTENT" val="/Ausgewählte Aufgabenfelder"/>
  <p:tag name="EE4P_AGENDAWIZARD_PROPERTIES" val="66.4567/165.8985/198.6109/28.2734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ef754c8-62b8-44dd-8684-79604ed70b0c_ItemNo"/>
  <p:tag name="EE4P_AGENDAWIZARD_CONTENT" val="/2"/>
  <p:tag name="EE4P_AGENDAWIZARD_PROPERTIES" val="26.45669/165.8985/40/28.2734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Elemen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Topic"/>
  <p:tag name="EE4P_AGENDAWIZARD_CONTENT" val="/Aufgabenblöcke im Praktikum"/>
  <p:tag name="EE4P_AGENDAWIZARD_PROPERTIES" val="66.4567/122.625/198.6109/28.2734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ItemNo"/>
  <p:tag name="EE4P_AGENDAWIZARD_CONTENT" val="/1"/>
  <p:tag name="EE4P_AGENDAWIZARD_PROPERTIES" val="26.45669/122.625/40/28.2734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Elemen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Topic"/>
  <p:tag name="EE4P_AGENDAWIZARD_CONTENT" val="/Aufgabenblöcke im Praktikum"/>
  <p:tag name="EE4P_AGENDAWIZARD_PROPERTIES" val="66.4567/122.625/198.6109/28.2734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ItemNo"/>
  <p:tag name="EE4P_AGENDAWIZARD_CONTENT" val="/1"/>
  <p:tag name="EE4P_AGENDAWIZARD_PROPERTIES" val="26.45669/122.625/40/28.273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Elemen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Topic"/>
  <p:tag name="EE4P_AGENDAWIZARD_CONTENT" val="/Aufgabenblöcke im Praktikum"/>
  <p:tag name="EE4P_AGENDAWIZARD_PROPERTIES" val="66.4567/122.625/198.6109/28.2734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ItemNo"/>
  <p:tag name="EE4P_AGENDAWIZARD_CONTENT" val="/1"/>
  <p:tag name="EE4P_AGENDAWIZARD_PROPERTIES" val="26.45669/122.625/40/28.2734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Elemen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Topic"/>
  <p:tag name="EE4P_AGENDAWIZARD_CONTENT" val="/Aufgabenblöcke im Praktikum"/>
  <p:tag name="EE4P_AGENDAWIZARD_PROPERTIES" val="66.4567/122.625/198.6109/28.2734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ItemNo"/>
  <p:tag name="EE4P_AGENDAWIZARD_CONTENT" val="/1"/>
  <p:tag name="EE4P_AGENDAWIZARD_PROPERTIES" val="26.45669/122.625/40/28.2734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_c7.vhSfaa6CnI7MM7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85a0de3c-3898-4109-9b26-c58a957ed03c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Elemen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5a0de3c-3898-4109-9b26-c58a957ed03c_Elemen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ca5217d-3e8c-45bb-a901-8cfeaead9eb1_Topic"/>
  <p:tag name="EE4P_AGENDAWIZARD_CONTENT" val="/Praktikumsprojekt"/>
  <p:tag name="EE4P_AGENDAWIZARD_PROPERTIES" val="66.4567/209.172/198.6109/28.27346"/>
</p:tagLst>
</file>

<file path=ppt/theme/theme1.xml><?xml version="1.0" encoding="utf-8"?>
<a:theme xmlns:a="http://schemas.openxmlformats.org/drawingml/2006/main" name="160229_1150_Master_16 9_ENGL">
  <a:themeElements>
    <a:clrScheme name="Crocus Light - 01-Multicolour">
      <a:dk1>
        <a:srgbClr val="2E2E2E"/>
      </a:dk1>
      <a:lt1>
        <a:srgbClr val="FFFFFF"/>
      </a:lt1>
      <a:dk2>
        <a:srgbClr val="737373"/>
      </a:dk2>
      <a:lt2>
        <a:srgbClr val="D8D8D8"/>
      </a:lt2>
      <a:accent1>
        <a:srgbClr val="4281A4"/>
      </a:accent1>
      <a:accent2>
        <a:srgbClr val="48A9A6"/>
      </a:accent2>
      <a:accent3>
        <a:srgbClr val="C1666B"/>
      </a:accent3>
      <a:accent4>
        <a:srgbClr val="D4B483"/>
      </a:accent4>
      <a:accent5>
        <a:srgbClr val="555358"/>
      </a:accent5>
      <a:accent6>
        <a:srgbClr val="8F9491"/>
      </a:accent6>
      <a:hlink>
        <a:srgbClr val="4281A4"/>
      </a:hlink>
      <a:folHlink>
        <a:srgbClr val="FFC000"/>
      </a:folHlink>
    </a:clrScheme>
    <a:fontScheme name="tk">
      <a:majorFont>
        <a:latin typeface="TKTypeBold"/>
        <a:ea typeface=""/>
        <a:cs typeface=""/>
      </a:majorFont>
      <a:minorFont>
        <a:latin typeface="TKType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1600" dirty="0" err="1" smtClean="0">
            <a:ln>
              <a:noFill/>
            </a:ln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>
        <a:spAutoFit/>
      </a:bodyPr>
      <a:lstStyle>
        <a:defPPr>
          <a:lnSpc>
            <a:spcPct val="90000"/>
          </a:lnSpc>
          <a:spcBef>
            <a:spcPts val="600"/>
          </a:spcBef>
          <a:defRPr sz="16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</TotalTime>
  <Words>277</Words>
  <Application>Microsoft Macintosh PowerPoint</Application>
  <PresentationFormat>Widescreen</PresentationFormat>
  <Paragraphs>43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TKTypeBold</vt:lpstr>
      <vt:lpstr>TKTypeMedium</vt:lpstr>
      <vt:lpstr>160229_1150_Master_16 9_ENGL</vt:lpstr>
      <vt:lpstr>think-cell Folie</vt:lpstr>
      <vt:lpstr>PowerPoint Presentation</vt:lpstr>
      <vt:lpstr>Agenda</vt:lpstr>
      <vt:lpstr>EMA, Time Series and diverse indicators</vt:lpstr>
      <vt:lpstr>Structure of the Script</vt:lpstr>
      <vt:lpstr>The algorithm are checking the strategies and buys automaticall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ka, Sebastian</dc:creator>
  <cp:lastModifiedBy>Maximilian Franke</cp:lastModifiedBy>
  <cp:revision>225</cp:revision>
  <dcterms:created xsi:type="dcterms:W3CDTF">2016-02-29T11:32:33Z</dcterms:created>
  <dcterms:modified xsi:type="dcterms:W3CDTF">2020-02-18T17:49:40Z</dcterms:modified>
</cp:coreProperties>
</file>